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84" r:id="rId1"/>
  </p:sldMasterIdLst>
  <p:notesMasterIdLst>
    <p:notesMasterId r:id="rId3"/>
  </p:notesMasterIdLst>
  <p:handoutMasterIdLst>
    <p:handoutMasterId r:id="rId4"/>
  </p:handoutMasterIdLst>
  <p:sldIdLst>
    <p:sldId id="256" r:id="rId2"/>
  </p:sldIdLst>
  <p:sldSz cx="9144000" cy="6858000" type="screen4x3"/>
  <p:notesSz cx="6805613" cy="9939338"/>
  <p:custDataLst>
    <p:tags r:id="rId5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5">
          <p15:clr>
            <a:srgbClr val="A4A3A4"/>
          </p15:clr>
        </p15:guide>
        <p15:guide id="2" orient="horz" pos="3884">
          <p15:clr>
            <a:srgbClr val="A4A3A4"/>
          </p15:clr>
        </p15:guide>
        <p15:guide id="3" orient="horz" pos="845">
          <p15:clr>
            <a:srgbClr val="A4A3A4"/>
          </p15:clr>
        </p15:guide>
        <p15:guide id="4" orient="horz" pos="2432">
          <p15:clr>
            <a:srgbClr val="A4A3A4"/>
          </p15:clr>
        </p15:guide>
        <p15:guide id="5" orient="horz" pos="119">
          <p15:clr>
            <a:srgbClr val="A4A3A4"/>
          </p15:clr>
        </p15:guide>
        <p15:guide id="6" orient="horz" pos="2296">
          <p15:clr>
            <a:srgbClr val="A4A3A4"/>
          </p15:clr>
        </p15:guide>
        <p15:guide id="7" orient="horz" pos="618">
          <p15:clr>
            <a:srgbClr val="A4A3A4"/>
          </p15:clr>
        </p15:guide>
        <p15:guide id="8" pos="158">
          <p15:clr>
            <a:srgbClr val="A4A3A4"/>
          </p15:clr>
        </p15:guide>
        <p15:guide id="9" pos="5602">
          <p15:clr>
            <a:srgbClr val="A4A3A4"/>
          </p15:clr>
        </p15:guide>
        <p15:guide id="10" pos="2811">
          <p15:clr>
            <a:srgbClr val="A4A3A4"/>
          </p15:clr>
        </p15:guide>
        <p15:guide id="11" pos="2947">
          <p15:clr>
            <a:srgbClr val="A4A3A4"/>
          </p15:clr>
        </p15:guide>
        <p15:guide id="12" pos="1882">
          <p15:clr>
            <a:srgbClr val="A4A3A4"/>
          </p15:clr>
        </p15:guide>
        <p15:guide id="13" pos="2018">
          <p15:clr>
            <a:srgbClr val="A4A3A4"/>
          </p15:clr>
        </p15:guide>
        <p15:guide id="14" pos="3742">
          <p15:clr>
            <a:srgbClr val="A4A3A4"/>
          </p15:clr>
        </p15:guide>
        <p15:guide id="15" pos="38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0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8AF"/>
    <a:srgbClr val="757677"/>
    <a:srgbClr val="F4F4F4"/>
    <a:srgbClr val="CCCCCC"/>
    <a:srgbClr val="999999"/>
    <a:srgbClr val="666666"/>
    <a:srgbClr val="EAEAEA"/>
    <a:srgbClr val="000000"/>
    <a:srgbClr val="A01437"/>
    <a:srgbClr val="A0143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howGuides="1">
      <p:cViewPr varScale="1">
        <p:scale>
          <a:sx n="89" d="100"/>
          <a:sy n="89" d="100"/>
        </p:scale>
        <p:origin x="1386" y="78"/>
      </p:cViewPr>
      <p:guideLst>
        <p:guide orient="horz" pos="3975"/>
        <p:guide orient="horz" pos="3884"/>
        <p:guide orient="horz" pos="845"/>
        <p:guide orient="horz" pos="2432"/>
        <p:guide orient="horz" pos="119"/>
        <p:guide orient="horz" pos="2296"/>
        <p:guide orient="horz" pos="618"/>
        <p:guide pos="158"/>
        <p:guide pos="5602"/>
        <p:guide pos="2811"/>
        <p:guide pos="2947"/>
        <p:guide pos="1882"/>
        <p:guide pos="2018"/>
        <p:guide pos="3742"/>
        <p:guide pos="387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2" d="100"/>
          <a:sy n="82" d="100"/>
        </p:scale>
        <p:origin x="-3576" y="-84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73075" y="933"/>
            <a:ext cx="29495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r>
              <a:rPr lang="de-DE" smtClean="0"/>
              <a:t>© 2013 BDEW</a:t>
            </a:r>
            <a:endParaRPr lang="de-DE"/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73075" y="226358"/>
            <a:ext cx="29495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r>
              <a:rPr lang="de-DE" smtClean="0"/>
              <a:t>01.06.2013</a:t>
            </a:r>
            <a:endParaRPr lang="de-DE"/>
          </a:p>
        </p:txBody>
      </p:sp>
      <p:sp>
        <p:nvSpPr>
          <p:cNvPr id="553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76250" y="453370"/>
            <a:ext cx="29495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r>
              <a:rPr lang="de-DE"/>
              <a:t>Seite </a:t>
            </a:r>
            <a:fld id="{A7B0E584-BE88-4E77-A877-883B1F5EA48F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55302" name="Picture 6" descr="BDEW_SW_M_CL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33975" y="42208"/>
            <a:ext cx="1189038" cy="6191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73529508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1214438"/>
            <a:ext cx="4970462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4875" y="5268913"/>
            <a:ext cx="4991100" cy="3949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285" tIns="44143" rIns="88285" bIns="4414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73075" y="933"/>
            <a:ext cx="29495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r>
              <a:rPr lang="de-DE" smtClean="0"/>
              <a:t>© 2013 BDEW</a:t>
            </a:r>
            <a:endParaRPr lang="de-DE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73075" y="226358"/>
            <a:ext cx="29495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r>
              <a:rPr lang="de-DE" smtClean="0"/>
              <a:t>01.06.2013</a:t>
            </a:r>
            <a:endParaRPr lang="de-DE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76250" y="453370"/>
            <a:ext cx="29495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r>
              <a:rPr lang="de-DE"/>
              <a:t>Seite </a:t>
            </a:r>
            <a:fld id="{A7B0E584-BE88-4E77-A877-883B1F5EA48F}" type="slidenum">
              <a:rPr lang="de-DE"/>
              <a:pPr/>
              <a:t>‹Nr.›</a:t>
            </a:fld>
            <a:endParaRPr lang="de-DE"/>
          </a:p>
        </p:txBody>
      </p:sp>
      <p:pic>
        <p:nvPicPr>
          <p:cNvPr id="11" name="Picture 6" descr="BDEW_SW_M_CL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33975" y="42208"/>
            <a:ext cx="1189038" cy="61912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87831907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177800" indent="-177800" algn="l" rtl="0" fontAlgn="base">
      <a:spcBef>
        <a:spcPct val="30000"/>
      </a:spcBef>
      <a:spcAft>
        <a:spcPct val="0"/>
      </a:spcAft>
      <a:buClr>
        <a:schemeClr val="accent1"/>
      </a:buClr>
      <a:buSzPct val="110000"/>
      <a:buChar char="•"/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333375" indent="-153988" algn="l" rtl="0" fontAlgn="base">
      <a:spcBef>
        <a:spcPct val="30000"/>
      </a:spcBef>
      <a:spcAft>
        <a:spcPct val="0"/>
      </a:spcAft>
      <a:buClr>
        <a:schemeClr val="accent1"/>
      </a:buClr>
      <a:buSzPct val="110000"/>
      <a:buChar char="•"/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534988" indent="-200025" algn="l" rtl="0" fontAlgn="base">
      <a:spcBef>
        <a:spcPct val="30000"/>
      </a:spcBef>
      <a:spcAft>
        <a:spcPct val="0"/>
      </a:spcAft>
      <a:buClr>
        <a:schemeClr val="accent1"/>
      </a:buClr>
      <a:buSzPct val="110000"/>
      <a:buChar char="•"/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700088" indent="-163513" algn="l" rtl="0" fontAlgn="base">
      <a:spcBef>
        <a:spcPct val="30000"/>
      </a:spcBef>
      <a:spcAft>
        <a:spcPct val="0"/>
      </a:spcAft>
      <a:buClr>
        <a:schemeClr val="accent1"/>
      </a:buClr>
      <a:buSzPct val="110000"/>
      <a:buChar char="•"/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855663" indent="-153988" algn="l" rtl="0" fontAlgn="base">
      <a:spcBef>
        <a:spcPct val="30000"/>
      </a:spcBef>
      <a:spcAft>
        <a:spcPct val="0"/>
      </a:spcAft>
      <a:buClr>
        <a:schemeClr val="accent1"/>
      </a:buClr>
      <a:buSzPct val="110000"/>
      <a:buChar char="•"/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38150" y="619125"/>
            <a:ext cx="5791200" cy="4343400"/>
          </a:xfrm>
          <a:ln/>
        </p:spPr>
      </p:sp>
      <p:sp>
        <p:nvSpPr>
          <p:cNvPr id="4096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77800" marR="0" indent="-17780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SzTx/>
              <a:buFontTx/>
              <a:buChar char="•"/>
              <a:tabLst/>
              <a:defRPr/>
            </a:pPr>
            <a:r>
              <a:rPr lang="de-DE" sz="1000" dirty="0" smtClean="0"/>
              <a:t>Dieses Schaubild bereitet die individuelle Wertschöpfungskette Ihres Unternehmens schematisch auf.</a:t>
            </a:r>
          </a:p>
        </p:txBody>
      </p:sp>
    </p:spTree>
    <p:extLst>
      <p:ext uri="{BB962C8B-B14F-4D97-AF65-F5344CB8AC3E}">
        <p14:creationId xmlns:p14="http://schemas.microsoft.com/office/powerpoint/2010/main" val="3644524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2" Type="http://schemas.openxmlformats.org/officeDocument/2006/relationships/tags" Target="../tags/tag52.xml"/><Relationship Id="rId16" Type="http://schemas.openxmlformats.org/officeDocument/2006/relationships/tags" Target="../tags/tag66.xml"/><Relationship Id="rId20" Type="http://schemas.openxmlformats.org/officeDocument/2006/relationships/image" Target="../media/image2.emf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10" Type="http://schemas.openxmlformats.org/officeDocument/2006/relationships/tags" Target="../tags/tag60.xml"/><Relationship Id="rId19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7" name="Rectangle 103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5084764"/>
            <a:ext cx="9144000" cy="1225550"/>
          </a:xfrm>
          <a:prstGeom prst="rect">
            <a:avLst/>
          </a:prstGeom>
          <a:solidFill>
            <a:srgbClr val="0068A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sz="3000" noProof="0">
              <a:solidFill>
                <a:srgbClr val="F82B26"/>
              </a:solidFill>
            </a:endParaRPr>
          </a:p>
        </p:txBody>
      </p:sp>
      <p:sp>
        <p:nvSpPr>
          <p:cNvPr id="4100" name="Rectangle 1028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612000" y="1772912"/>
            <a:ext cx="7200000" cy="864000"/>
          </a:xfrm>
        </p:spPr>
        <p:txBody>
          <a:bodyPr/>
          <a:lstStyle>
            <a:lvl1pPr>
              <a:defRPr/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4101" name="Rectangle 1029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612000" y="3211810"/>
            <a:ext cx="7200000" cy="1657350"/>
          </a:xfrm>
        </p:spPr>
        <p:txBody>
          <a:bodyPr/>
          <a:lstStyle>
            <a:lvl1pPr marL="0" indent="0">
              <a:spcBef>
                <a:spcPct val="0"/>
              </a:spcBef>
              <a:buFont typeface="Wingdings" pitchFamily="2" charset="2"/>
              <a:buNone/>
              <a:defRPr/>
            </a:lvl1pPr>
          </a:lstStyle>
          <a:p>
            <a:r>
              <a:rPr lang="de-DE" noProof="0" smtClean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4109" name="Text Box 103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956550" y="6450392"/>
            <a:ext cx="9366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/>
            <a:r>
              <a:rPr lang="de-DE" sz="1000" noProof="0" dirty="0" smtClean="0">
                <a:solidFill>
                  <a:schemeClr val="bg1"/>
                </a:solidFill>
              </a:rPr>
              <a:t>www.bdew.de</a:t>
            </a:r>
            <a:endParaRPr lang="de-DE" sz="1000" noProof="0" dirty="0">
              <a:solidFill>
                <a:schemeClr val="bg1"/>
              </a:solidFill>
            </a:endParaRP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olidFill>
                  <a:srgbClr val="757677"/>
                </a:solidFill>
              </a:defRPr>
            </a:lvl1pPr>
          </a:lstStyle>
          <a:p>
            <a:r>
              <a:rPr lang="de-DE" smtClean="0"/>
              <a:t>Seite </a:t>
            </a:r>
            <a:fld id="{57282E12-AC30-4C30-91CF-1304F955FEAA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2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olidFill>
                  <a:srgbClr val="757677"/>
                </a:solidFill>
              </a:defRPr>
            </a:lvl1pPr>
          </a:lstStyle>
          <a:p>
            <a:r>
              <a:rPr lang="de-DE" smtClean="0"/>
              <a:t>Autor der Präsentation</a:t>
            </a:r>
            <a:endParaRPr lang="de-DE" dirty="0"/>
          </a:p>
        </p:txBody>
      </p:sp>
      <p:sp>
        <p:nvSpPr>
          <p:cNvPr id="22" name="Date Placeholder 18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611560" y="2780960"/>
            <a:ext cx="7200000" cy="288000"/>
          </a:xfrm>
        </p:spPr>
        <p:txBody>
          <a:bodyPr/>
          <a:lstStyle>
            <a:lvl1pPr algn="l">
              <a:defRPr sz="16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smtClean="0"/>
              <a:t>01.06.2013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 bwMode="auto">
          <a:xfrm>
            <a:off x="2699792" y="6597352"/>
            <a:ext cx="3744416" cy="260648"/>
          </a:xfrm>
          <a:prstGeom prst="rect">
            <a:avLst/>
          </a:prstGeom>
          <a:solidFill>
            <a:srgbClr val="757677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 spd="slow"/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Inhalte 2/3 zu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251520" y="1339304"/>
            <a:ext cx="5688013" cy="4824000"/>
          </a:xfrm>
          <a:prstGeom prst="rect">
            <a:avLst/>
          </a:prstGeom>
        </p:spPr>
        <p:txBody>
          <a:bodyPr/>
          <a:lstStyle>
            <a:lvl1pPr marL="269875" indent="-269875"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  <p:custDataLst>
              <p:tags r:id="rId3"/>
            </p:custDataLst>
          </p:nvPr>
        </p:nvSpPr>
        <p:spPr>
          <a:xfrm>
            <a:off x="6156176" y="1339304"/>
            <a:ext cx="2736000" cy="482400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 und vier Inhalte 1/3 zu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252560" y="1339974"/>
            <a:ext cx="2735264" cy="2305050"/>
          </a:xfrm>
          <a:prstGeom prst="rect">
            <a:avLst/>
          </a:prstGeom>
        </p:spPr>
        <p:txBody>
          <a:bodyPr/>
          <a:lstStyle>
            <a:lvl1pPr marL="269875" indent="-269875"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  <p:custDataLst>
              <p:tags r:id="rId3"/>
            </p:custDataLst>
          </p:nvPr>
        </p:nvSpPr>
        <p:spPr>
          <a:xfrm>
            <a:off x="3202880" y="1339974"/>
            <a:ext cx="5689600" cy="230505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251520" y="3860254"/>
            <a:ext cx="2735264" cy="230505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  <p:custDataLst>
              <p:tags r:id="rId5"/>
            </p:custDataLst>
          </p:nvPr>
        </p:nvSpPr>
        <p:spPr>
          <a:xfrm>
            <a:off x="3203848" y="3860254"/>
            <a:ext cx="5689600" cy="230505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vier Inhalte 2/3 zu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251520" y="1339974"/>
            <a:ext cx="5688013" cy="2305050"/>
          </a:xfrm>
          <a:prstGeom prst="rect">
            <a:avLst/>
          </a:prstGeom>
        </p:spPr>
        <p:txBody>
          <a:bodyPr/>
          <a:lstStyle>
            <a:lvl1pPr marL="269875" indent="-269875"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  <p:custDataLst>
              <p:tags r:id="rId3"/>
            </p:custDataLst>
          </p:nvPr>
        </p:nvSpPr>
        <p:spPr>
          <a:xfrm>
            <a:off x="6154737" y="1339974"/>
            <a:ext cx="2736000" cy="230505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251520" y="3860254"/>
            <a:ext cx="5688013" cy="230505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  <p:custDataLst>
              <p:tags r:id="rId5"/>
            </p:custDataLst>
          </p:nvPr>
        </p:nvSpPr>
        <p:spPr>
          <a:xfrm>
            <a:off x="6156480" y="3860254"/>
            <a:ext cx="2736000" cy="230505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5" y="188913"/>
            <a:ext cx="6625431" cy="792162"/>
          </a:xfrm>
        </p:spPr>
        <p:txBody>
          <a:bodyPr anchor="b"/>
          <a:lstStyle>
            <a:lvl1pPr algn="l">
              <a:defRPr lang="de-DE" dirty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0825" y="2708921"/>
            <a:ext cx="8640000" cy="3456930"/>
          </a:xfrm>
        </p:spPr>
        <p:txBody>
          <a:bodyPr/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50824" y="1341439"/>
            <a:ext cx="8640000" cy="1152000"/>
          </a:xfrm>
        </p:spPr>
        <p:txBody>
          <a:bodyPr/>
          <a:lstStyle>
            <a:lvl1pPr marL="0" indent="0">
              <a:buNone/>
              <a:defRPr lang="de-DE" dirty="0" smtClean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</p:cSld>
  <p:clrMapOvr>
    <a:masterClrMapping/>
  </p:clrMapOvr>
  <p:transition spd="slow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seit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6"/>
          <p:cNvGrpSpPr/>
          <p:nvPr userDrawn="1"/>
        </p:nvGrpSpPr>
        <p:grpSpPr>
          <a:xfrm>
            <a:off x="7856538" y="339725"/>
            <a:ext cx="1033462" cy="536575"/>
            <a:chOff x="7856538" y="339725"/>
            <a:chExt cx="1033462" cy="536575"/>
          </a:xfrm>
        </p:grpSpPr>
        <p:sp>
          <p:nvSpPr>
            <p:cNvPr id="31" name="Freeform 37"/>
            <p:cNvSpPr>
              <a:spLocks noChangeAspect="1"/>
            </p:cNvSpPr>
            <p:nvPr userDrawn="1"/>
          </p:nvSpPr>
          <p:spPr bwMode="auto">
            <a:xfrm>
              <a:off x="8596048" y="442646"/>
              <a:ext cx="293952" cy="2255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869"/>
                </a:cxn>
                <a:cxn ang="0">
                  <a:pos x="523" y="1367"/>
                </a:cxn>
                <a:cxn ang="0">
                  <a:pos x="890" y="1204"/>
                </a:cxn>
                <a:cxn ang="0">
                  <a:pos x="1253" y="1367"/>
                </a:cxn>
                <a:cxn ang="0">
                  <a:pos x="1775" y="869"/>
                </a:cxn>
                <a:cxn ang="0">
                  <a:pos x="1775" y="0"/>
                </a:cxn>
                <a:cxn ang="0">
                  <a:pos x="1461" y="0"/>
                </a:cxn>
                <a:cxn ang="0">
                  <a:pos x="1461" y="877"/>
                </a:cxn>
                <a:cxn ang="0">
                  <a:pos x="1253" y="1076"/>
                </a:cxn>
                <a:cxn ang="0">
                  <a:pos x="1047" y="877"/>
                </a:cxn>
                <a:cxn ang="0">
                  <a:pos x="1047" y="0"/>
                </a:cxn>
                <a:cxn ang="0">
                  <a:pos x="733" y="0"/>
                </a:cxn>
                <a:cxn ang="0">
                  <a:pos x="733" y="877"/>
                </a:cxn>
                <a:cxn ang="0">
                  <a:pos x="523" y="1076"/>
                </a:cxn>
                <a:cxn ang="0">
                  <a:pos x="315" y="877"/>
                </a:cxn>
                <a:cxn ang="0">
                  <a:pos x="315" y="0"/>
                </a:cxn>
                <a:cxn ang="0">
                  <a:pos x="0" y="0"/>
                </a:cxn>
              </a:cxnLst>
              <a:rect l="0" t="0" r="r" b="b"/>
              <a:pathLst>
                <a:path w="1775" h="1367">
                  <a:moveTo>
                    <a:pt x="0" y="0"/>
                  </a:moveTo>
                  <a:lnTo>
                    <a:pt x="0" y="869"/>
                  </a:lnTo>
                  <a:cubicBezTo>
                    <a:pt x="0" y="1145"/>
                    <a:pt x="237" y="1367"/>
                    <a:pt x="523" y="1367"/>
                  </a:cubicBezTo>
                  <a:cubicBezTo>
                    <a:pt x="661" y="1367"/>
                    <a:pt x="820" y="1293"/>
                    <a:pt x="890" y="1204"/>
                  </a:cubicBezTo>
                  <a:cubicBezTo>
                    <a:pt x="956" y="1293"/>
                    <a:pt x="1115" y="1367"/>
                    <a:pt x="1253" y="1367"/>
                  </a:cubicBezTo>
                  <a:cubicBezTo>
                    <a:pt x="1541" y="1367"/>
                    <a:pt x="1775" y="1145"/>
                    <a:pt x="1775" y="869"/>
                  </a:cubicBezTo>
                  <a:lnTo>
                    <a:pt x="1775" y="0"/>
                  </a:lnTo>
                  <a:lnTo>
                    <a:pt x="1461" y="0"/>
                  </a:lnTo>
                  <a:lnTo>
                    <a:pt x="1461" y="877"/>
                  </a:lnTo>
                  <a:cubicBezTo>
                    <a:pt x="1461" y="985"/>
                    <a:pt x="1369" y="1076"/>
                    <a:pt x="1253" y="1076"/>
                  </a:cubicBezTo>
                  <a:cubicBezTo>
                    <a:pt x="1142" y="1076"/>
                    <a:pt x="1047" y="985"/>
                    <a:pt x="1047" y="877"/>
                  </a:cubicBezTo>
                  <a:lnTo>
                    <a:pt x="1047" y="0"/>
                  </a:lnTo>
                  <a:lnTo>
                    <a:pt x="733" y="0"/>
                  </a:lnTo>
                  <a:lnTo>
                    <a:pt x="733" y="877"/>
                  </a:lnTo>
                  <a:cubicBezTo>
                    <a:pt x="733" y="985"/>
                    <a:pt x="638" y="1076"/>
                    <a:pt x="523" y="1076"/>
                  </a:cubicBezTo>
                  <a:cubicBezTo>
                    <a:pt x="407" y="1076"/>
                    <a:pt x="315" y="985"/>
                    <a:pt x="315" y="877"/>
                  </a:cubicBezTo>
                  <a:lnTo>
                    <a:pt x="3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01432"/>
            </a:soli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de-DE" noProof="0"/>
            </a:p>
          </p:txBody>
        </p:sp>
        <p:sp>
          <p:nvSpPr>
            <p:cNvPr id="32" name="Freeform 38"/>
            <p:cNvSpPr>
              <a:spLocks noChangeAspect="1"/>
            </p:cNvSpPr>
            <p:nvPr userDrawn="1"/>
          </p:nvSpPr>
          <p:spPr bwMode="auto">
            <a:xfrm>
              <a:off x="8348387" y="435707"/>
              <a:ext cx="230301" cy="230126"/>
            </a:xfrm>
            <a:custGeom>
              <a:avLst/>
              <a:gdLst/>
              <a:ahLst/>
              <a:cxnLst>
                <a:cxn ang="0">
                  <a:pos x="1384" y="800"/>
                </a:cxn>
                <a:cxn ang="0">
                  <a:pos x="1391" y="696"/>
                </a:cxn>
                <a:cxn ang="0">
                  <a:pos x="697" y="0"/>
                </a:cxn>
                <a:cxn ang="0">
                  <a:pos x="0" y="696"/>
                </a:cxn>
                <a:cxn ang="0">
                  <a:pos x="697" y="1392"/>
                </a:cxn>
                <a:cxn ang="0">
                  <a:pos x="1344" y="948"/>
                </a:cxn>
                <a:cxn ang="0">
                  <a:pos x="1017" y="948"/>
                </a:cxn>
                <a:cxn ang="0">
                  <a:pos x="697" y="1107"/>
                </a:cxn>
                <a:cxn ang="0">
                  <a:pos x="286" y="696"/>
                </a:cxn>
                <a:cxn ang="0">
                  <a:pos x="697" y="288"/>
                </a:cxn>
                <a:cxn ang="0">
                  <a:pos x="1062" y="515"/>
                </a:cxn>
                <a:cxn ang="0">
                  <a:pos x="566" y="515"/>
                </a:cxn>
                <a:cxn ang="0">
                  <a:pos x="566" y="800"/>
                </a:cxn>
                <a:cxn ang="0">
                  <a:pos x="1384" y="800"/>
                </a:cxn>
              </a:cxnLst>
              <a:rect l="0" t="0" r="r" b="b"/>
              <a:pathLst>
                <a:path w="1391" h="1392">
                  <a:moveTo>
                    <a:pt x="1384" y="800"/>
                  </a:moveTo>
                  <a:cubicBezTo>
                    <a:pt x="1390" y="766"/>
                    <a:pt x="1391" y="732"/>
                    <a:pt x="1391" y="696"/>
                  </a:cubicBezTo>
                  <a:cubicBezTo>
                    <a:pt x="1391" y="312"/>
                    <a:pt x="1081" y="0"/>
                    <a:pt x="697" y="0"/>
                  </a:cubicBezTo>
                  <a:cubicBezTo>
                    <a:pt x="310" y="0"/>
                    <a:pt x="0" y="312"/>
                    <a:pt x="0" y="696"/>
                  </a:cubicBezTo>
                  <a:cubicBezTo>
                    <a:pt x="0" y="1082"/>
                    <a:pt x="310" y="1392"/>
                    <a:pt x="697" y="1392"/>
                  </a:cubicBezTo>
                  <a:cubicBezTo>
                    <a:pt x="992" y="1392"/>
                    <a:pt x="1244" y="1207"/>
                    <a:pt x="1344" y="948"/>
                  </a:cubicBezTo>
                  <a:lnTo>
                    <a:pt x="1017" y="948"/>
                  </a:lnTo>
                  <a:cubicBezTo>
                    <a:pt x="943" y="1044"/>
                    <a:pt x="827" y="1107"/>
                    <a:pt x="697" y="1107"/>
                  </a:cubicBezTo>
                  <a:cubicBezTo>
                    <a:pt x="469" y="1107"/>
                    <a:pt x="286" y="923"/>
                    <a:pt x="286" y="696"/>
                  </a:cubicBezTo>
                  <a:cubicBezTo>
                    <a:pt x="286" y="471"/>
                    <a:pt x="469" y="288"/>
                    <a:pt x="697" y="288"/>
                  </a:cubicBezTo>
                  <a:cubicBezTo>
                    <a:pt x="856" y="288"/>
                    <a:pt x="994" y="381"/>
                    <a:pt x="1062" y="515"/>
                  </a:cubicBezTo>
                  <a:lnTo>
                    <a:pt x="566" y="515"/>
                  </a:lnTo>
                  <a:lnTo>
                    <a:pt x="566" y="800"/>
                  </a:lnTo>
                  <a:lnTo>
                    <a:pt x="1384" y="800"/>
                  </a:lnTo>
                  <a:close/>
                </a:path>
              </a:pathLst>
            </a:custGeom>
            <a:solidFill>
              <a:srgbClr val="A01432"/>
            </a:soli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de-DE" noProof="0"/>
            </a:p>
          </p:txBody>
        </p:sp>
        <p:sp>
          <p:nvSpPr>
            <p:cNvPr id="33" name="Freeform 39"/>
            <p:cNvSpPr>
              <a:spLocks noChangeAspect="1" noEditPoints="1"/>
            </p:cNvSpPr>
            <p:nvPr userDrawn="1"/>
          </p:nvSpPr>
          <p:spPr bwMode="auto">
            <a:xfrm>
              <a:off x="8100727" y="339725"/>
              <a:ext cx="231458" cy="328421"/>
            </a:xfrm>
            <a:custGeom>
              <a:avLst/>
              <a:gdLst/>
              <a:ahLst/>
              <a:cxnLst>
                <a:cxn ang="0">
                  <a:pos x="785" y="1685"/>
                </a:cxn>
                <a:cxn ang="0">
                  <a:pos x="690" y="1699"/>
                </a:cxn>
                <a:cxn ang="0">
                  <a:pos x="537" y="1665"/>
                </a:cxn>
                <a:cxn ang="0">
                  <a:pos x="284" y="1287"/>
                </a:cxn>
                <a:cxn ang="0">
                  <a:pos x="694" y="877"/>
                </a:cxn>
                <a:cxn ang="0">
                  <a:pos x="1104" y="1287"/>
                </a:cxn>
                <a:cxn ang="0">
                  <a:pos x="785" y="1685"/>
                </a:cxn>
                <a:cxn ang="0">
                  <a:pos x="1093" y="0"/>
                </a:cxn>
                <a:cxn ang="0">
                  <a:pos x="1093" y="739"/>
                </a:cxn>
                <a:cxn ang="0">
                  <a:pos x="690" y="601"/>
                </a:cxn>
                <a:cxn ang="0">
                  <a:pos x="0" y="1292"/>
                </a:cxn>
                <a:cxn ang="0">
                  <a:pos x="690" y="1984"/>
                </a:cxn>
                <a:cxn ang="0">
                  <a:pos x="1093" y="1853"/>
                </a:cxn>
                <a:cxn ang="0">
                  <a:pos x="1093" y="1969"/>
                </a:cxn>
                <a:cxn ang="0">
                  <a:pos x="1392" y="1969"/>
                </a:cxn>
                <a:cxn ang="0">
                  <a:pos x="1392" y="0"/>
                </a:cxn>
                <a:cxn ang="0">
                  <a:pos x="1093" y="0"/>
                </a:cxn>
              </a:cxnLst>
              <a:rect l="0" t="0" r="r" b="b"/>
              <a:pathLst>
                <a:path w="1392" h="1984">
                  <a:moveTo>
                    <a:pt x="785" y="1685"/>
                  </a:moveTo>
                  <a:cubicBezTo>
                    <a:pt x="756" y="1693"/>
                    <a:pt x="724" y="1699"/>
                    <a:pt x="690" y="1699"/>
                  </a:cubicBezTo>
                  <a:cubicBezTo>
                    <a:pt x="635" y="1699"/>
                    <a:pt x="583" y="1687"/>
                    <a:pt x="537" y="1665"/>
                  </a:cubicBezTo>
                  <a:cubicBezTo>
                    <a:pt x="388" y="1604"/>
                    <a:pt x="284" y="1457"/>
                    <a:pt x="284" y="1287"/>
                  </a:cubicBezTo>
                  <a:cubicBezTo>
                    <a:pt x="284" y="1060"/>
                    <a:pt x="467" y="877"/>
                    <a:pt x="694" y="877"/>
                  </a:cubicBezTo>
                  <a:cubicBezTo>
                    <a:pt x="921" y="877"/>
                    <a:pt x="1104" y="1060"/>
                    <a:pt x="1104" y="1287"/>
                  </a:cubicBezTo>
                  <a:cubicBezTo>
                    <a:pt x="1104" y="1481"/>
                    <a:pt x="968" y="1644"/>
                    <a:pt x="785" y="1685"/>
                  </a:cubicBezTo>
                  <a:close/>
                  <a:moveTo>
                    <a:pt x="1093" y="0"/>
                  </a:moveTo>
                  <a:lnTo>
                    <a:pt x="1093" y="739"/>
                  </a:lnTo>
                  <a:cubicBezTo>
                    <a:pt x="981" y="654"/>
                    <a:pt x="843" y="601"/>
                    <a:pt x="690" y="601"/>
                  </a:cubicBezTo>
                  <a:cubicBezTo>
                    <a:pt x="310" y="601"/>
                    <a:pt x="0" y="911"/>
                    <a:pt x="0" y="1292"/>
                  </a:cubicBezTo>
                  <a:cubicBezTo>
                    <a:pt x="0" y="1674"/>
                    <a:pt x="310" y="1984"/>
                    <a:pt x="690" y="1984"/>
                  </a:cubicBezTo>
                  <a:cubicBezTo>
                    <a:pt x="843" y="1984"/>
                    <a:pt x="981" y="1935"/>
                    <a:pt x="1093" y="1853"/>
                  </a:cubicBezTo>
                  <a:lnTo>
                    <a:pt x="1093" y="1969"/>
                  </a:lnTo>
                  <a:lnTo>
                    <a:pt x="1392" y="1969"/>
                  </a:lnTo>
                  <a:lnTo>
                    <a:pt x="1392" y="0"/>
                  </a:lnTo>
                  <a:lnTo>
                    <a:pt x="1093" y="0"/>
                  </a:lnTo>
                  <a:close/>
                </a:path>
              </a:pathLst>
            </a:custGeom>
            <a:solidFill>
              <a:srgbClr val="A01432"/>
            </a:soli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de-DE" noProof="0"/>
            </a:p>
          </p:txBody>
        </p:sp>
        <p:sp>
          <p:nvSpPr>
            <p:cNvPr id="34" name="Freeform 40"/>
            <p:cNvSpPr>
              <a:spLocks noChangeAspect="1" noEditPoints="1"/>
            </p:cNvSpPr>
            <p:nvPr userDrawn="1"/>
          </p:nvSpPr>
          <p:spPr bwMode="auto">
            <a:xfrm>
              <a:off x="7856538" y="339725"/>
              <a:ext cx="230301" cy="328421"/>
            </a:xfrm>
            <a:custGeom>
              <a:avLst/>
              <a:gdLst/>
              <a:ahLst/>
              <a:cxnLst>
                <a:cxn ang="0">
                  <a:pos x="1709" y="3329"/>
                </a:cxn>
                <a:cxn ang="0">
                  <a:pos x="1399" y="3397"/>
                </a:cxn>
                <a:cxn ang="0">
                  <a:pos x="1210" y="3370"/>
                </a:cxn>
                <a:cxn ang="0">
                  <a:pos x="575" y="2573"/>
                </a:cxn>
                <a:cxn ang="0">
                  <a:pos x="1395" y="1753"/>
                </a:cxn>
                <a:cxn ang="0">
                  <a:pos x="2216" y="2573"/>
                </a:cxn>
                <a:cxn ang="0">
                  <a:pos x="1709" y="3329"/>
                </a:cxn>
                <a:cxn ang="0">
                  <a:pos x="1399" y="1202"/>
                </a:cxn>
                <a:cxn ang="0">
                  <a:pos x="597" y="1478"/>
                </a:cxn>
                <a:cxn ang="0">
                  <a:pos x="597" y="0"/>
                </a:cxn>
                <a:cxn ang="0">
                  <a:pos x="0" y="0"/>
                </a:cxn>
                <a:cxn ang="0">
                  <a:pos x="0" y="3937"/>
                </a:cxn>
                <a:cxn ang="0">
                  <a:pos x="597" y="3937"/>
                </a:cxn>
                <a:cxn ang="0">
                  <a:pos x="597" y="3706"/>
                </a:cxn>
                <a:cxn ang="0">
                  <a:pos x="1399" y="3967"/>
                </a:cxn>
                <a:cxn ang="0">
                  <a:pos x="2783" y="2584"/>
                </a:cxn>
                <a:cxn ang="0">
                  <a:pos x="1399" y="1202"/>
                </a:cxn>
              </a:cxnLst>
              <a:rect l="0" t="0" r="r" b="b"/>
              <a:pathLst>
                <a:path w="2783" h="3967">
                  <a:moveTo>
                    <a:pt x="1709" y="3329"/>
                  </a:moveTo>
                  <a:cubicBezTo>
                    <a:pt x="1615" y="3374"/>
                    <a:pt x="1512" y="3397"/>
                    <a:pt x="1399" y="3397"/>
                  </a:cubicBezTo>
                  <a:cubicBezTo>
                    <a:pt x="1335" y="3397"/>
                    <a:pt x="1270" y="3385"/>
                    <a:pt x="1210" y="3370"/>
                  </a:cubicBezTo>
                  <a:cubicBezTo>
                    <a:pt x="847" y="3287"/>
                    <a:pt x="575" y="2962"/>
                    <a:pt x="575" y="2573"/>
                  </a:cubicBezTo>
                  <a:cubicBezTo>
                    <a:pt x="575" y="2120"/>
                    <a:pt x="941" y="1753"/>
                    <a:pt x="1395" y="1753"/>
                  </a:cubicBezTo>
                  <a:cubicBezTo>
                    <a:pt x="1849" y="1753"/>
                    <a:pt x="2216" y="2120"/>
                    <a:pt x="2216" y="2573"/>
                  </a:cubicBezTo>
                  <a:cubicBezTo>
                    <a:pt x="2216" y="2913"/>
                    <a:pt x="2008" y="3208"/>
                    <a:pt x="1709" y="3329"/>
                  </a:cubicBezTo>
                  <a:close/>
                  <a:moveTo>
                    <a:pt x="1399" y="1202"/>
                  </a:moveTo>
                  <a:cubicBezTo>
                    <a:pt x="1093" y="1202"/>
                    <a:pt x="820" y="1308"/>
                    <a:pt x="597" y="1478"/>
                  </a:cubicBezTo>
                  <a:lnTo>
                    <a:pt x="597" y="0"/>
                  </a:lnTo>
                  <a:lnTo>
                    <a:pt x="0" y="0"/>
                  </a:lnTo>
                  <a:lnTo>
                    <a:pt x="0" y="3937"/>
                  </a:lnTo>
                  <a:lnTo>
                    <a:pt x="597" y="3937"/>
                  </a:lnTo>
                  <a:lnTo>
                    <a:pt x="597" y="3706"/>
                  </a:lnTo>
                  <a:cubicBezTo>
                    <a:pt x="820" y="3869"/>
                    <a:pt x="1093" y="3967"/>
                    <a:pt x="1399" y="3967"/>
                  </a:cubicBezTo>
                  <a:cubicBezTo>
                    <a:pt x="2163" y="3967"/>
                    <a:pt x="2783" y="3348"/>
                    <a:pt x="2783" y="2584"/>
                  </a:cubicBezTo>
                  <a:cubicBezTo>
                    <a:pt x="2783" y="1821"/>
                    <a:pt x="2163" y="1202"/>
                    <a:pt x="1399" y="1202"/>
                  </a:cubicBezTo>
                  <a:close/>
                </a:path>
              </a:pathLst>
            </a:custGeom>
            <a:solidFill>
              <a:srgbClr val="A01432"/>
            </a:soli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de-DE" noProof="0"/>
            </a:p>
          </p:txBody>
        </p:sp>
        <p:sp>
          <p:nvSpPr>
            <p:cNvPr id="35" name="Freeform 41"/>
            <p:cNvSpPr>
              <a:spLocks noChangeAspect="1" noEditPoints="1"/>
            </p:cNvSpPr>
            <p:nvPr userDrawn="1"/>
          </p:nvSpPr>
          <p:spPr bwMode="auto">
            <a:xfrm>
              <a:off x="7856538" y="780318"/>
              <a:ext cx="1033462" cy="95982"/>
            </a:xfrm>
            <a:custGeom>
              <a:avLst/>
              <a:gdLst/>
              <a:ahLst/>
              <a:cxnLst>
                <a:cxn ang="0">
                  <a:pos x="227" y="276"/>
                </a:cxn>
                <a:cxn ang="0">
                  <a:pos x="255" y="45"/>
                </a:cxn>
                <a:cxn ang="0">
                  <a:pos x="591" y="246"/>
                </a:cxn>
                <a:cxn ang="0">
                  <a:pos x="323" y="150"/>
                </a:cxn>
                <a:cxn ang="0">
                  <a:pos x="474" y="216"/>
                </a:cxn>
                <a:cxn ang="0">
                  <a:pos x="792" y="145"/>
                </a:cxn>
                <a:cxn ang="0">
                  <a:pos x="799" y="397"/>
                </a:cxn>
                <a:cxn ang="0">
                  <a:pos x="746" y="273"/>
                </a:cxn>
                <a:cxn ang="0">
                  <a:pos x="1079" y="182"/>
                </a:cxn>
                <a:cxn ang="0">
                  <a:pos x="996" y="453"/>
                </a:cxn>
                <a:cxn ang="0">
                  <a:pos x="1175" y="152"/>
                </a:cxn>
                <a:cxn ang="0">
                  <a:pos x="1218" y="301"/>
                </a:cxn>
                <a:cxn ang="0">
                  <a:pos x="1407" y="482"/>
                </a:cxn>
                <a:cxn ang="0">
                  <a:pos x="1489" y="497"/>
                </a:cxn>
                <a:cxn ang="0">
                  <a:pos x="1347" y="386"/>
                </a:cxn>
                <a:cxn ang="0">
                  <a:pos x="1660" y="49"/>
                </a:cxn>
                <a:cxn ang="0">
                  <a:pos x="1651" y="453"/>
                </a:cxn>
                <a:cxn ang="0">
                  <a:pos x="1651" y="453"/>
                </a:cxn>
                <a:cxn ang="0">
                  <a:pos x="1978" y="429"/>
                </a:cxn>
                <a:cxn ang="0">
                  <a:pos x="1982" y="295"/>
                </a:cxn>
                <a:cxn ang="0">
                  <a:pos x="2146" y="414"/>
                </a:cxn>
                <a:cxn ang="0">
                  <a:pos x="2799" y="51"/>
                </a:cxn>
                <a:cxn ang="0">
                  <a:pos x="2582" y="45"/>
                </a:cxn>
                <a:cxn ang="0">
                  <a:pos x="2365" y="41"/>
                </a:cxn>
                <a:cxn ang="0">
                  <a:pos x="2537" y="160"/>
                </a:cxn>
                <a:cxn ang="0">
                  <a:pos x="3081" y="453"/>
                </a:cxn>
                <a:cxn ang="0">
                  <a:pos x="2852" y="171"/>
                </a:cxn>
                <a:cxn ang="0">
                  <a:pos x="2862" y="307"/>
                </a:cxn>
                <a:cxn ang="0">
                  <a:pos x="3081" y="453"/>
                </a:cxn>
                <a:cxn ang="0">
                  <a:pos x="2994" y="320"/>
                </a:cxn>
                <a:cxn ang="0">
                  <a:pos x="3257" y="209"/>
                </a:cxn>
                <a:cxn ang="0">
                  <a:pos x="3264" y="340"/>
                </a:cxn>
                <a:cxn ang="0">
                  <a:pos x="3255" y="461"/>
                </a:cxn>
                <a:cxn ang="0">
                  <a:pos x="3532" y="209"/>
                </a:cxn>
                <a:cxn ang="0">
                  <a:pos x="3538" y="340"/>
                </a:cxn>
                <a:cxn ang="0">
                  <a:pos x="3529" y="461"/>
                </a:cxn>
                <a:cxn ang="0">
                  <a:pos x="3821" y="461"/>
                </a:cxn>
                <a:cxn ang="0">
                  <a:pos x="3957" y="320"/>
                </a:cxn>
                <a:cxn ang="0">
                  <a:pos x="3876" y="273"/>
                </a:cxn>
                <a:cxn ang="0">
                  <a:pos x="4107" y="150"/>
                </a:cxn>
                <a:cxn ang="0">
                  <a:pos x="4112" y="241"/>
                </a:cxn>
                <a:cxn ang="0">
                  <a:pos x="4241" y="369"/>
                </a:cxn>
                <a:cxn ang="0">
                  <a:pos x="4749" y="378"/>
                </a:cxn>
                <a:cxn ang="0">
                  <a:pos x="4749" y="453"/>
                </a:cxn>
                <a:cxn ang="0">
                  <a:pos x="5051" y="429"/>
                </a:cxn>
                <a:cxn ang="0">
                  <a:pos x="5057" y="295"/>
                </a:cxn>
                <a:cxn ang="0">
                  <a:pos x="5406" y="301"/>
                </a:cxn>
                <a:cxn ang="0">
                  <a:pos x="5130" y="19"/>
                </a:cxn>
                <a:cxn ang="0">
                  <a:pos x="5291" y="461"/>
                </a:cxn>
                <a:cxn ang="0">
                  <a:pos x="5213" y="233"/>
                </a:cxn>
                <a:cxn ang="0">
                  <a:pos x="5467" y="303"/>
                </a:cxn>
                <a:cxn ang="0">
                  <a:pos x="5552" y="320"/>
                </a:cxn>
                <a:cxn ang="0">
                  <a:pos x="5599" y="203"/>
                </a:cxn>
                <a:cxn ang="0">
                  <a:pos x="5977" y="145"/>
                </a:cxn>
                <a:cxn ang="0">
                  <a:pos x="5801" y="453"/>
                </a:cxn>
                <a:cxn ang="0">
                  <a:pos x="5984" y="453"/>
                </a:cxn>
                <a:cxn ang="0">
                  <a:pos x="6184" y="461"/>
                </a:cxn>
              </a:cxnLst>
              <a:rect l="0" t="0" r="r" b="b"/>
              <a:pathLst>
                <a:path w="6233" h="583">
                  <a:moveTo>
                    <a:pt x="261" y="453"/>
                  </a:moveTo>
                  <a:lnTo>
                    <a:pt x="261" y="382"/>
                  </a:lnTo>
                  <a:lnTo>
                    <a:pt x="83" y="382"/>
                  </a:lnTo>
                  <a:lnTo>
                    <a:pt x="83" y="276"/>
                  </a:lnTo>
                  <a:lnTo>
                    <a:pt x="227" y="276"/>
                  </a:lnTo>
                  <a:lnTo>
                    <a:pt x="227" y="207"/>
                  </a:lnTo>
                  <a:lnTo>
                    <a:pt x="83" y="207"/>
                  </a:lnTo>
                  <a:lnTo>
                    <a:pt x="83" y="116"/>
                  </a:lnTo>
                  <a:lnTo>
                    <a:pt x="248" y="116"/>
                  </a:lnTo>
                  <a:lnTo>
                    <a:pt x="255" y="45"/>
                  </a:lnTo>
                  <a:lnTo>
                    <a:pt x="0" y="45"/>
                  </a:lnTo>
                  <a:lnTo>
                    <a:pt x="0" y="453"/>
                  </a:lnTo>
                  <a:lnTo>
                    <a:pt x="261" y="453"/>
                  </a:lnTo>
                  <a:close/>
                  <a:moveTo>
                    <a:pt x="591" y="453"/>
                  </a:moveTo>
                  <a:lnTo>
                    <a:pt x="591" y="246"/>
                  </a:lnTo>
                  <a:cubicBezTo>
                    <a:pt x="591" y="218"/>
                    <a:pt x="588" y="196"/>
                    <a:pt x="576" y="179"/>
                  </a:cubicBezTo>
                  <a:cubicBezTo>
                    <a:pt x="561" y="158"/>
                    <a:pt x="538" y="145"/>
                    <a:pt x="503" y="145"/>
                  </a:cubicBezTo>
                  <a:cubicBezTo>
                    <a:pt x="459" y="145"/>
                    <a:pt x="416" y="180"/>
                    <a:pt x="404" y="192"/>
                  </a:cubicBezTo>
                  <a:cubicBezTo>
                    <a:pt x="404" y="173"/>
                    <a:pt x="401" y="150"/>
                    <a:pt x="401" y="150"/>
                  </a:cubicBezTo>
                  <a:lnTo>
                    <a:pt x="323" y="150"/>
                  </a:lnTo>
                  <a:cubicBezTo>
                    <a:pt x="323" y="150"/>
                    <a:pt x="327" y="188"/>
                    <a:pt x="327" y="226"/>
                  </a:cubicBezTo>
                  <a:lnTo>
                    <a:pt x="327" y="453"/>
                  </a:lnTo>
                  <a:lnTo>
                    <a:pt x="408" y="453"/>
                  </a:lnTo>
                  <a:lnTo>
                    <a:pt x="408" y="248"/>
                  </a:lnTo>
                  <a:cubicBezTo>
                    <a:pt x="419" y="237"/>
                    <a:pt x="448" y="216"/>
                    <a:pt x="474" y="216"/>
                  </a:cubicBezTo>
                  <a:cubicBezTo>
                    <a:pt x="495" y="216"/>
                    <a:pt x="508" y="220"/>
                    <a:pt x="508" y="254"/>
                  </a:cubicBezTo>
                  <a:lnTo>
                    <a:pt x="508" y="453"/>
                  </a:lnTo>
                  <a:lnTo>
                    <a:pt x="591" y="453"/>
                  </a:lnTo>
                  <a:close/>
                  <a:moveTo>
                    <a:pt x="922" y="295"/>
                  </a:moveTo>
                  <a:cubicBezTo>
                    <a:pt x="922" y="224"/>
                    <a:pt x="895" y="145"/>
                    <a:pt x="792" y="145"/>
                  </a:cubicBezTo>
                  <a:cubicBezTo>
                    <a:pt x="701" y="145"/>
                    <a:pt x="659" y="222"/>
                    <a:pt x="659" y="303"/>
                  </a:cubicBezTo>
                  <a:cubicBezTo>
                    <a:pt x="659" y="359"/>
                    <a:pt x="678" y="461"/>
                    <a:pt x="786" y="461"/>
                  </a:cubicBezTo>
                  <a:cubicBezTo>
                    <a:pt x="869" y="461"/>
                    <a:pt x="916" y="429"/>
                    <a:pt x="916" y="429"/>
                  </a:cubicBezTo>
                  <a:lnTo>
                    <a:pt x="914" y="367"/>
                  </a:lnTo>
                  <a:cubicBezTo>
                    <a:pt x="914" y="367"/>
                    <a:pt x="856" y="397"/>
                    <a:pt x="799" y="397"/>
                  </a:cubicBezTo>
                  <a:cubicBezTo>
                    <a:pt x="763" y="397"/>
                    <a:pt x="746" y="374"/>
                    <a:pt x="746" y="320"/>
                  </a:cubicBezTo>
                  <a:lnTo>
                    <a:pt x="922" y="320"/>
                  </a:lnTo>
                  <a:cubicBezTo>
                    <a:pt x="922" y="320"/>
                    <a:pt x="922" y="301"/>
                    <a:pt x="922" y="295"/>
                  </a:cubicBezTo>
                  <a:moveTo>
                    <a:pt x="841" y="273"/>
                  </a:moveTo>
                  <a:lnTo>
                    <a:pt x="746" y="273"/>
                  </a:lnTo>
                  <a:cubicBezTo>
                    <a:pt x="746" y="248"/>
                    <a:pt x="754" y="203"/>
                    <a:pt x="792" y="203"/>
                  </a:cubicBezTo>
                  <a:cubicBezTo>
                    <a:pt x="835" y="203"/>
                    <a:pt x="841" y="246"/>
                    <a:pt x="841" y="273"/>
                  </a:cubicBezTo>
                  <a:moveTo>
                    <a:pt x="1175" y="152"/>
                  </a:moveTo>
                  <a:cubicBezTo>
                    <a:pt x="1175" y="152"/>
                    <a:pt x="1169" y="147"/>
                    <a:pt x="1139" y="147"/>
                  </a:cubicBezTo>
                  <a:cubicBezTo>
                    <a:pt x="1115" y="147"/>
                    <a:pt x="1092" y="169"/>
                    <a:pt x="1079" y="182"/>
                  </a:cubicBezTo>
                  <a:cubicBezTo>
                    <a:pt x="1077" y="184"/>
                    <a:pt x="1075" y="186"/>
                    <a:pt x="1075" y="186"/>
                  </a:cubicBezTo>
                  <a:cubicBezTo>
                    <a:pt x="1075" y="173"/>
                    <a:pt x="1071" y="150"/>
                    <a:pt x="1071" y="150"/>
                  </a:cubicBezTo>
                  <a:lnTo>
                    <a:pt x="992" y="150"/>
                  </a:lnTo>
                  <a:cubicBezTo>
                    <a:pt x="992" y="150"/>
                    <a:pt x="996" y="188"/>
                    <a:pt x="996" y="226"/>
                  </a:cubicBezTo>
                  <a:lnTo>
                    <a:pt x="996" y="453"/>
                  </a:lnTo>
                  <a:lnTo>
                    <a:pt x="1077" y="453"/>
                  </a:lnTo>
                  <a:lnTo>
                    <a:pt x="1077" y="241"/>
                  </a:lnTo>
                  <a:cubicBezTo>
                    <a:pt x="1098" y="222"/>
                    <a:pt x="1116" y="212"/>
                    <a:pt x="1126" y="212"/>
                  </a:cubicBezTo>
                  <a:cubicBezTo>
                    <a:pt x="1149" y="212"/>
                    <a:pt x="1167" y="216"/>
                    <a:pt x="1167" y="216"/>
                  </a:cubicBezTo>
                  <a:lnTo>
                    <a:pt x="1175" y="152"/>
                  </a:lnTo>
                  <a:close/>
                  <a:moveTo>
                    <a:pt x="1496" y="150"/>
                  </a:moveTo>
                  <a:lnTo>
                    <a:pt x="1419" y="150"/>
                  </a:lnTo>
                  <a:cubicBezTo>
                    <a:pt x="1419" y="150"/>
                    <a:pt x="1415" y="158"/>
                    <a:pt x="1415" y="169"/>
                  </a:cubicBezTo>
                  <a:cubicBezTo>
                    <a:pt x="1405" y="164"/>
                    <a:pt x="1377" y="145"/>
                    <a:pt x="1341" y="145"/>
                  </a:cubicBezTo>
                  <a:cubicBezTo>
                    <a:pt x="1256" y="145"/>
                    <a:pt x="1218" y="211"/>
                    <a:pt x="1218" y="301"/>
                  </a:cubicBezTo>
                  <a:cubicBezTo>
                    <a:pt x="1218" y="359"/>
                    <a:pt x="1237" y="455"/>
                    <a:pt x="1326" y="455"/>
                  </a:cubicBezTo>
                  <a:cubicBezTo>
                    <a:pt x="1371" y="455"/>
                    <a:pt x="1405" y="419"/>
                    <a:pt x="1411" y="412"/>
                  </a:cubicBezTo>
                  <a:cubicBezTo>
                    <a:pt x="1411" y="412"/>
                    <a:pt x="1409" y="431"/>
                    <a:pt x="1409" y="440"/>
                  </a:cubicBezTo>
                  <a:lnTo>
                    <a:pt x="1409" y="459"/>
                  </a:lnTo>
                  <a:cubicBezTo>
                    <a:pt x="1409" y="466"/>
                    <a:pt x="1409" y="476"/>
                    <a:pt x="1407" y="482"/>
                  </a:cubicBezTo>
                  <a:cubicBezTo>
                    <a:pt x="1402" y="500"/>
                    <a:pt x="1385" y="510"/>
                    <a:pt x="1351" y="510"/>
                  </a:cubicBezTo>
                  <a:cubicBezTo>
                    <a:pt x="1288" y="510"/>
                    <a:pt x="1235" y="487"/>
                    <a:pt x="1235" y="487"/>
                  </a:cubicBezTo>
                  <a:lnTo>
                    <a:pt x="1234" y="559"/>
                  </a:lnTo>
                  <a:cubicBezTo>
                    <a:pt x="1234" y="559"/>
                    <a:pt x="1279" y="583"/>
                    <a:pt x="1351" y="583"/>
                  </a:cubicBezTo>
                  <a:cubicBezTo>
                    <a:pt x="1426" y="583"/>
                    <a:pt x="1475" y="553"/>
                    <a:pt x="1489" y="497"/>
                  </a:cubicBezTo>
                  <a:cubicBezTo>
                    <a:pt x="1490" y="485"/>
                    <a:pt x="1492" y="463"/>
                    <a:pt x="1492" y="448"/>
                  </a:cubicBezTo>
                  <a:lnTo>
                    <a:pt x="1492" y="226"/>
                  </a:lnTo>
                  <a:cubicBezTo>
                    <a:pt x="1492" y="190"/>
                    <a:pt x="1496" y="150"/>
                    <a:pt x="1496" y="150"/>
                  </a:cubicBezTo>
                  <a:moveTo>
                    <a:pt x="1409" y="352"/>
                  </a:moveTo>
                  <a:cubicBezTo>
                    <a:pt x="1385" y="380"/>
                    <a:pt x="1362" y="386"/>
                    <a:pt x="1347" y="386"/>
                  </a:cubicBezTo>
                  <a:cubicBezTo>
                    <a:pt x="1309" y="386"/>
                    <a:pt x="1302" y="329"/>
                    <a:pt x="1302" y="301"/>
                  </a:cubicBezTo>
                  <a:cubicBezTo>
                    <a:pt x="1302" y="265"/>
                    <a:pt x="1305" y="211"/>
                    <a:pt x="1353" y="211"/>
                  </a:cubicBezTo>
                  <a:cubicBezTo>
                    <a:pt x="1370" y="211"/>
                    <a:pt x="1387" y="216"/>
                    <a:pt x="1409" y="227"/>
                  </a:cubicBezTo>
                  <a:lnTo>
                    <a:pt x="1409" y="352"/>
                  </a:lnTo>
                  <a:close/>
                  <a:moveTo>
                    <a:pt x="1660" y="49"/>
                  </a:moveTo>
                  <a:cubicBezTo>
                    <a:pt x="1660" y="24"/>
                    <a:pt x="1642" y="0"/>
                    <a:pt x="1611" y="0"/>
                  </a:cubicBezTo>
                  <a:cubicBezTo>
                    <a:pt x="1579" y="0"/>
                    <a:pt x="1562" y="22"/>
                    <a:pt x="1562" y="49"/>
                  </a:cubicBezTo>
                  <a:cubicBezTo>
                    <a:pt x="1562" y="71"/>
                    <a:pt x="1579" y="96"/>
                    <a:pt x="1611" y="96"/>
                  </a:cubicBezTo>
                  <a:cubicBezTo>
                    <a:pt x="1642" y="96"/>
                    <a:pt x="1660" y="71"/>
                    <a:pt x="1660" y="49"/>
                  </a:cubicBezTo>
                  <a:moveTo>
                    <a:pt x="1651" y="453"/>
                  </a:moveTo>
                  <a:lnTo>
                    <a:pt x="1651" y="216"/>
                  </a:lnTo>
                  <a:cubicBezTo>
                    <a:pt x="1651" y="190"/>
                    <a:pt x="1645" y="150"/>
                    <a:pt x="1645" y="150"/>
                  </a:cubicBezTo>
                  <a:lnTo>
                    <a:pt x="1570" y="150"/>
                  </a:lnTo>
                  <a:lnTo>
                    <a:pt x="1570" y="453"/>
                  </a:lnTo>
                  <a:lnTo>
                    <a:pt x="1651" y="453"/>
                  </a:lnTo>
                  <a:close/>
                  <a:moveTo>
                    <a:pt x="1982" y="295"/>
                  </a:moveTo>
                  <a:cubicBezTo>
                    <a:pt x="1982" y="224"/>
                    <a:pt x="1955" y="145"/>
                    <a:pt x="1853" y="145"/>
                  </a:cubicBezTo>
                  <a:cubicBezTo>
                    <a:pt x="1762" y="145"/>
                    <a:pt x="1721" y="222"/>
                    <a:pt x="1721" y="303"/>
                  </a:cubicBezTo>
                  <a:cubicBezTo>
                    <a:pt x="1721" y="359"/>
                    <a:pt x="1738" y="461"/>
                    <a:pt x="1847" y="461"/>
                  </a:cubicBezTo>
                  <a:cubicBezTo>
                    <a:pt x="1929" y="461"/>
                    <a:pt x="1978" y="429"/>
                    <a:pt x="1978" y="429"/>
                  </a:cubicBezTo>
                  <a:lnTo>
                    <a:pt x="1976" y="367"/>
                  </a:lnTo>
                  <a:cubicBezTo>
                    <a:pt x="1976" y="367"/>
                    <a:pt x="1917" y="397"/>
                    <a:pt x="1861" y="397"/>
                  </a:cubicBezTo>
                  <a:cubicBezTo>
                    <a:pt x="1825" y="397"/>
                    <a:pt x="1806" y="374"/>
                    <a:pt x="1806" y="320"/>
                  </a:cubicBezTo>
                  <a:lnTo>
                    <a:pt x="1982" y="320"/>
                  </a:lnTo>
                  <a:cubicBezTo>
                    <a:pt x="1982" y="320"/>
                    <a:pt x="1982" y="301"/>
                    <a:pt x="1982" y="295"/>
                  </a:cubicBezTo>
                  <a:moveTo>
                    <a:pt x="1900" y="273"/>
                  </a:moveTo>
                  <a:lnTo>
                    <a:pt x="1808" y="273"/>
                  </a:lnTo>
                  <a:cubicBezTo>
                    <a:pt x="1808" y="248"/>
                    <a:pt x="1813" y="203"/>
                    <a:pt x="1853" y="203"/>
                  </a:cubicBezTo>
                  <a:cubicBezTo>
                    <a:pt x="1895" y="203"/>
                    <a:pt x="1900" y="246"/>
                    <a:pt x="1900" y="273"/>
                  </a:cubicBezTo>
                  <a:moveTo>
                    <a:pt x="2146" y="414"/>
                  </a:moveTo>
                  <a:cubicBezTo>
                    <a:pt x="2146" y="393"/>
                    <a:pt x="2129" y="369"/>
                    <a:pt x="2097" y="369"/>
                  </a:cubicBezTo>
                  <a:cubicBezTo>
                    <a:pt x="2065" y="369"/>
                    <a:pt x="2046" y="391"/>
                    <a:pt x="2046" y="414"/>
                  </a:cubicBezTo>
                  <a:cubicBezTo>
                    <a:pt x="2046" y="438"/>
                    <a:pt x="2065" y="461"/>
                    <a:pt x="2097" y="461"/>
                  </a:cubicBezTo>
                  <a:cubicBezTo>
                    <a:pt x="2129" y="461"/>
                    <a:pt x="2146" y="436"/>
                    <a:pt x="2146" y="414"/>
                  </a:cubicBezTo>
                  <a:moveTo>
                    <a:pt x="2799" y="51"/>
                  </a:moveTo>
                  <a:lnTo>
                    <a:pt x="2714" y="45"/>
                  </a:lnTo>
                  <a:lnTo>
                    <a:pt x="2665" y="243"/>
                  </a:lnTo>
                  <a:cubicBezTo>
                    <a:pt x="2658" y="273"/>
                    <a:pt x="2648" y="331"/>
                    <a:pt x="2646" y="342"/>
                  </a:cubicBezTo>
                  <a:cubicBezTo>
                    <a:pt x="2645" y="331"/>
                    <a:pt x="2633" y="273"/>
                    <a:pt x="2628" y="243"/>
                  </a:cubicBezTo>
                  <a:lnTo>
                    <a:pt x="2582" y="45"/>
                  </a:lnTo>
                  <a:lnTo>
                    <a:pt x="2493" y="45"/>
                  </a:lnTo>
                  <a:lnTo>
                    <a:pt x="2448" y="243"/>
                  </a:lnTo>
                  <a:cubicBezTo>
                    <a:pt x="2441" y="273"/>
                    <a:pt x="2433" y="329"/>
                    <a:pt x="2431" y="340"/>
                  </a:cubicBezTo>
                  <a:cubicBezTo>
                    <a:pt x="2427" y="327"/>
                    <a:pt x="2418" y="273"/>
                    <a:pt x="2412" y="243"/>
                  </a:cubicBezTo>
                  <a:lnTo>
                    <a:pt x="2365" y="41"/>
                  </a:lnTo>
                  <a:lnTo>
                    <a:pt x="2276" y="45"/>
                  </a:lnTo>
                  <a:lnTo>
                    <a:pt x="2384" y="453"/>
                  </a:lnTo>
                  <a:lnTo>
                    <a:pt x="2473" y="453"/>
                  </a:lnTo>
                  <a:lnTo>
                    <a:pt x="2516" y="265"/>
                  </a:lnTo>
                  <a:cubicBezTo>
                    <a:pt x="2522" y="237"/>
                    <a:pt x="2537" y="160"/>
                    <a:pt x="2537" y="160"/>
                  </a:cubicBezTo>
                  <a:cubicBezTo>
                    <a:pt x="2537" y="160"/>
                    <a:pt x="2550" y="235"/>
                    <a:pt x="2558" y="265"/>
                  </a:cubicBezTo>
                  <a:lnTo>
                    <a:pt x="2597" y="453"/>
                  </a:lnTo>
                  <a:lnTo>
                    <a:pt x="2690" y="453"/>
                  </a:lnTo>
                  <a:lnTo>
                    <a:pt x="2799" y="51"/>
                  </a:lnTo>
                  <a:close/>
                  <a:moveTo>
                    <a:pt x="3081" y="453"/>
                  </a:moveTo>
                  <a:cubicBezTo>
                    <a:pt x="3081" y="453"/>
                    <a:pt x="3077" y="425"/>
                    <a:pt x="3077" y="391"/>
                  </a:cubicBezTo>
                  <a:lnTo>
                    <a:pt x="3077" y="246"/>
                  </a:lnTo>
                  <a:cubicBezTo>
                    <a:pt x="3077" y="216"/>
                    <a:pt x="3073" y="192"/>
                    <a:pt x="3058" y="173"/>
                  </a:cubicBezTo>
                  <a:cubicBezTo>
                    <a:pt x="3043" y="156"/>
                    <a:pt x="3017" y="145"/>
                    <a:pt x="2979" y="145"/>
                  </a:cubicBezTo>
                  <a:cubicBezTo>
                    <a:pt x="2915" y="145"/>
                    <a:pt x="2852" y="171"/>
                    <a:pt x="2852" y="171"/>
                  </a:cubicBezTo>
                  <a:lnTo>
                    <a:pt x="2858" y="235"/>
                  </a:lnTo>
                  <a:cubicBezTo>
                    <a:pt x="2879" y="224"/>
                    <a:pt x="2920" y="207"/>
                    <a:pt x="2962" y="207"/>
                  </a:cubicBezTo>
                  <a:cubicBezTo>
                    <a:pt x="2986" y="207"/>
                    <a:pt x="2994" y="222"/>
                    <a:pt x="2994" y="244"/>
                  </a:cubicBezTo>
                  <a:lnTo>
                    <a:pt x="2994" y="275"/>
                  </a:lnTo>
                  <a:cubicBezTo>
                    <a:pt x="2956" y="275"/>
                    <a:pt x="2896" y="280"/>
                    <a:pt x="2862" y="307"/>
                  </a:cubicBezTo>
                  <a:cubicBezTo>
                    <a:pt x="2843" y="322"/>
                    <a:pt x="2832" y="340"/>
                    <a:pt x="2832" y="367"/>
                  </a:cubicBezTo>
                  <a:cubicBezTo>
                    <a:pt x="2832" y="406"/>
                    <a:pt x="2852" y="461"/>
                    <a:pt x="2918" y="461"/>
                  </a:cubicBezTo>
                  <a:cubicBezTo>
                    <a:pt x="2962" y="461"/>
                    <a:pt x="3000" y="425"/>
                    <a:pt x="3000" y="425"/>
                  </a:cubicBezTo>
                  <a:cubicBezTo>
                    <a:pt x="3000" y="436"/>
                    <a:pt x="3003" y="453"/>
                    <a:pt x="3003" y="453"/>
                  </a:cubicBezTo>
                  <a:lnTo>
                    <a:pt x="3081" y="453"/>
                  </a:lnTo>
                  <a:close/>
                  <a:moveTo>
                    <a:pt x="2994" y="376"/>
                  </a:moveTo>
                  <a:cubicBezTo>
                    <a:pt x="2986" y="384"/>
                    <a:pt x="2964" y="399"/>
                    <a:pt x="2941" y="399"/>
                  </a:cubicBezTo>
                  <a:cubicBezTo>
                    <a:pt x="2920" y="399"/>
                    <a:pt x="2913" y="378"/>
                    <a:pt x="2913" y="363"/>
                  </a:cubicBezTo>
                  <a:cubicBezTo>
                    <a:pt x="2913" y="354"/>
                    <a:pt x="2917" y="346"/>
                    <a:pt x="2924" y="339"/>
                  </a:cubicBezTo>
                  <a:cubicBezTo>
                    <a:pt x="2943" y="322"/>
                    <a:pt x="2983" y="320"/>
                    <a:pt x="2994" y="320"/>
                  </a:cubicBezTo>
                  <a:lnTo>
                    <a:pt x="2994" y="376"/>
                  </a:lnTo>
                  <a:close/>
                  <a:moveTo>
                    <a:pt x="3368" y="363"/>
                  </a:moveTo>
                  <a:cubicBezTo>
                    <a:pt x="3368" y="291"/>
                    <a:pt x="3300" y="278"/>
                    <a:pt x="3249" y="256"/>
                  </a:cubicBezTo>
                  <a:cubicBezTo>
                    <a:pt x="3238" y="250"/>
                    <a:pt x="3226" y="244"/>
                    <a:pt x="3226" y="233"/>
                  </a:cubicBezTo>
                  <a:cubicBezTo>
                    <a:pt x="3226" y="222"/>
                    <a:pt x="3234" y="209"/>
                    <a:pt x="3257" y="209"/>
                  </a:cubicBezTo>
                  <a:cubicBezTo>
                    <a:pt x="3296" y="209"/>
                    <a:pt x="3347" y="229"/>
                    <a:pt x="3347" y="229"/>
                  </a:cubicBezTo>
                  <a:lnTo>
                    <a:pt x="3351" y="162"/>
                  </a:lnTo>
                  <a:cubicBezTo>
                    <a:pt x="3351" y="162"/>
                    <a:pt x="3309" y="145"/>
                    <a:pt x="3260" y="145"/>
                  </a:cubicBezTo>
                  <a:cubicBezTo>
                    <a:pt x="3204" y="145"/>
                    <a:pt x="3149" y="177"/>
                    <a:pt x="3149" y="241"/>
                  </a:cubicBezTo>
                  <a:cubicBezTo>
                    <a:pt x="3149" y="307"/>
                    <a:pt x="3217" y="320"/>
                    <a:pt x="3264" y="340"/>
                  </a:cubicBezTo>
                  <a:cubicBezTo>
                    <a:pt x="3277" y="348"/>
                    <a:pt x="3289" y="354"/>
                    <a:pt x="3289" y="367"/>
                  </a:cubicBezTo>
                  <a:cubicBezTo>
                    <a:pt x="3289" y="384"/>
                    <a:pt x="3275" y="395"/>
                    <a:pt x="3257" y="395"/>
                  </a:cubicBezTo>
                  <a:cubicBezTo>
                    <a:pt x="3211" y="395"/>
                    <a:pt x="3149" y="365"/>
                    <a:pt x="3149" y="365"/>
                  </a:cubicBezTo>
                  <a:lnTo>
                    <a:pt x="3145" y="438"/>
                  </a:lnTo>
                  <a:cubicBezTo>
                    <a:pt x="3145" y="438"/>
                    <a:pt x="3198" y="461"/>
                    <a:pt x="3255" y="461"/>
                  </a:cubicBezTo>
                  <a:cubicBezTo>
                    <a:pt x="3313" y="461"/>
                    <a:pt x="3368" y="431"/>
                    <a:pt x="3368" y="363"/>
                  </a:cubicBezTo>
                  <a:moveTo>
                    <a:pt x="3644" y="363"/>
                  </a:moveTo>
                  <a:cubicBezTo>
                    <a:pt x="3644" y="291"/>
                    <a:pt x="3576" y="278"/>
                    <a:pt x="3525" y="256"/>
                  </a:cubicBezTo>
                  <a:cubicBezTo>
                    <a:pt x="3513" y="250"/>
                    <a:pt x="3502" y="244"/>
                    <a:pt x="3502" y="233"/>
                  </a:cubicBezTo>
                  <a:cubicBezTo>
                    <a:pt x="3502" y="222"/>
                    <a:pt x="3510" y="209"/>
                    <a:pt x="3532" y="209"/>
                  </a:cubicBezTo>
                  <a:cubicBezTo>
                    <a:pt x="3572" y="209"/>
                    <a:pt x="3621" y="229"/>
                    <a:pt x="3621" y="229"/>
                  </a:cubicBezTo>
                  <a:lnTo>
                    <a:pt x="3627" y="162"/>
                  </a:lnTo>
                  <a:cubicBezTo>
                    <a:pt x="3627" y="162"/>
                    <a:pt x="3585" y="145"/>
                    <a:pt x="3536" y="145"/>
                  </a:cubicBezTo>
                  <a:cubicBezTo>
                    <a:pt x="3478" y="145"/>
                    <a:pt x="3423" y="177"/>
                    <a:pt x="3423" y="241"/>
                  </a:cubicBezTo>
                  <a:cubicBezTo>
                    <a:pt x="3423" y="307"/>
                    <a:pt x="3493" y="320"/>
                    <a:pt x="3538" y="340"/>
                  </a:cubicBezTo>
                  <a:cubicBezTo>
                    <a:pt x="3553" y="348"/>
                    <a:pt x="3564" y="354"/>
                    <a:pt x="3564" y="367"/>
                  </a:cubicBezTo>
                  <a:cubicBezTo>
                    <a:pt x="3564" y="384"/>
                    <a:pt x="3551" y="395"/>
                    <a:pt x="3530" y="395"/>
                  </a:cubicBezTo>
                  <a:cubicBezTo>
                    <a:pt x="3485" y="395"/>
                    <a:pt x="3425" y="365"/>
                    <a:pt x="3425" y="365"/>
                  </a:cubicBezTo>
                  <a:lnTo>
                    <a:pt x="3421" y="438"/>
                  </a:lnTo>
                  <a:cubicBezTo>
                    <a:pt x="3421" y="438"/>
                    <a:pt x="3474" y="461"/>
                    <a:pt x="3529" y="461"/>
                  </a:cubicBezTo>
                  <a:cubicBezTo>
                    <a:pt x="3589" y="461"/>
                    <a:pt x="3644" y="431"/>
                    <a:pt x="3644" y="363"/>
                  </a:cubicBezTo>
                  <a:moveTo>
                    <a:pt x="3957" y="295"/>
                  </a:moveTo>
                  <a:cubicBezTo>
                    <a:pt x="3957" y="224"/>
                    <a:pt x="3931" y="145"/>
                    <a:pt x="3827" y="145"/>
                  </a:cubicBezTo>
                  <a:cubicBezTo>
                    <a:pt x="3736" y="145"/>
                    <a:pt x="3695" y="222"/>
                    <a:pt x="3695" y="303"/>
                  </a:cubicBezTo>
                  <a:cubicBezTo>
                    <a:pt x="3695" y="359"/>
                    <a:pt x="3714" y="461"/>
                    <a:pt x="3821" y="461"/>
                  </a:cubicBezTo>
                  <a:cubicBezTo>
                    <a:pt x="3904" y="461"/>
                    <a:pt x="3952" y="429"/>
                    <a:pt x="3952" y="429"/>
                  </a:cubicBezTo>
                  <a:lnTo>
                    <a:pt x="3950" y="367"/>
                  </a:lnTo>
                  <a:cubicBezTo>
                    <a:pt x="3950" y="367"/>
                    <a:pt x="3891" y="397"/>
                    <a:pt x="3835" y="397"/>
                  </a:cubicBezTo>
                  <a:cubicBezTo>
                    <a:pt x="3799" y="397"/>
                    <a:pt x="3782" y="374"/>
                    <a:pt x="3782" y="320"/>
                  </a:cubicBezTo>
                  <a:lnTo>
                    <a:pt x="3957" y="320"/>
                  </a:lnTo>
                  <a:cubicBezTo>
                    <a:pt x="3957" y="320"/>
                    <a:pt x="3957" y="301"/>
                    <a:pt x="3957" y="295"/>
                  </a:cubicBezTo>
                  <a:moveTo>
                    <a:pt x="3876" y="273"/>
                  </a:moveTo>
                  <a:lnTo>
                    <a:pt x="3782" y="273"/>
                  </a:lnTo>
                  <a:cubicBezTo>
                    <a:pt x="3782" y="248"/>
                    <a:pt x="3789" y="203"/>
                    <a:pt x="3827" y="203"/>
                  </a:cubicBezTo>
                  <a:cubicBezTo>
                    <a:pt x="3870" y="203"/>
                    <a:pt x="3876" y="246"/>
                    <a:pt x="3876" y="273"/>
                  </a:cubicBezTo>
                  <a:moveTo>
                    <a:pt x="4210" y="152"/>
                  </a:moveTo>
                  <a:cubicBezTo>
                    <a:pt x="4210" y="152"/>
                    <a:pt x="4205" y="147"/>
                    <a:pt x="4175" y="147"/>
                  </a:cubicBezTo>
                  <a:cubicBezTo>
                    <a:pt x="4150" y="147"/>
                    <a:pt x="4127" y="169"/>
                    <a:pt x="4114" y="182"/>
                  </a:cubicBezTo>
                  <a:cubicBezTo>
                    <a:pt x="4112" y="184"/>
                    <a:pt x="4110" y="186"/>
                    <a:pt x="4110" y="186"/>
                  </a:cubicBezTo>
                  <a:cubicBezTo>
                    <a:pt x="4110" y="173"/>
                    <a:pt x="4107" y="150"/>
                    <a:pt x="4107" y="150"/>
                  </a:cubicBezTo>
                  <a:lnTo>
                    <a:pt x="4027" y="150"/>
                  </a:lnTo>
                  <a:cubicBezTo>
                    <a:pt x="4027" y="150"/>
                    <a:pt x="4031" y="188"/>
                    <a:pt x="4031" y="226"/>
                  </a:cubicBezTo>
                  <a:lnTo>
                    <a:pt x="4031" y="453"/>
                  </a:lnTo>
                  <a:lnTo>
                    <a:pt x="4112" y="453"/>
                  </a:lnTo>
                  <a:lnTo>
                    <a:pt x="4112" y="241"/>
                  </a:lnTo>
                  <a:cubicBezTo>
                    <a:pt x="4133" y="222"/>
                    <a:pt x="4152" y="212"/>
                    <a:pt x="4161" y="212"/>
                  </a:cubicBezTo>
                  <a:cubicBezTo>
                    <a:pt x="4184" y="212"/>
                    <a:pt x="4203" y="216"/>
                    <a:pt x="4203" y="216"/>
                  </a:cubicBezTo>
                  <a:lnTo>
                    <a:pt x="4210" y="152"/>
                  </a:lnTo>
                  <a:close/>
                  <a:moveTo>
                    <a:pt x="4288" y="414"/>
                  </a:moveTo>
                  <a:cubicBezTo>
                    <a:pt x="4288" y="393"/>
                    <a:pt x="4273" y="369"/>
                    <a:pt x="4241" y="369"/>
                  </a:cubicBezTo>
                  <a:cubicBezTo>
                    <a:pt x="4207" y="369"/>
                    <a:pt x="4190" y="391"/>
                    <a:pt x="4190" y="414"/>
                  </a:cubicBezTo>
                  <a:cubicBezTo>
                    <a:pt x="4190" y="438"/>
                    <a:pt x="4207" y="461"/>
                    <a:pt x="4241" y="461"/>
                  </a:cubicBezTo>
                  <a:cubicBezTo>
                    <a:pt x="4273" y="461"/>
                    <a:pt x="4288" y="436"/>
                    <a:pt x="4288" y="414"/>
                  </a:cubicBezTo>
                  <a:moveTo>
                    <a:pt x="4749" y="453"/>
                  </a:moveTo>
                  <a:lnTo>
                    <a:pt x="4749" y="378"/>
                  </a:lnTo>
                  <a:lnTo>
                    <a:pt x="4575" y="378"/>
                  </a:lnTo>
                  <a:lnTo>
                    <a:pt x="4575" y="45"/>
                  </a:lnTo>
                  <a:lnTo>
                    <a:pt x="4492" y="45"/>
                  </a:lnTo>
                  <a:lnTo>
                    <a:pt x="4492" y="453"/>
                  </a:lnTo>
                  <a:lnTo>
                    <a:pt x="4749" y="453"/>
                  </a:lnTo>
                  <a:close/>
                  <a:moveTo>
                    <a:pt x="5057" y="295"/>
                  </a:moveTo>
                  <a:cubicBezTo>
                    <a:pt x="5057" y="224"/>
                    <a:pt x="5028" y="145"/>
                    <a:pt x="4926" y="145"/>
                  </a:cubicBezTo>
                  <a:cubicBezTo>
                    <a:pt x="4836" y="145"/>
                    <a:pt x="4794" y="222"/>
                    <a:pt x="4794" y="303"/>
                  </a:cubicBezTo>
                  <a:cubicBezTo>
                    <a:pt x="4794" y="359"/>
                    <a:pt x="4811" y="461"/>
                    <a:pt x="4921" y="461"/>
                  </a:cubicBezTo>
                  <a:cubicBezTo>
                    <a:pt x="5002" y="461"/>
                    <a:pt x="5051" y="429"/>
                    <a:pt x="5051" y="429"/>
                  </a:cubicBezTo>
                  <a:lnTo>
                    <a:pt x="5049" y="367"/>
                  </a:lnTo>
                  <a:cubicBezTo>
                    <a:pt x="5049" y="367"/>
                    <a:pt x="4991" y="397"/>
                    <a:pt x="4934" y="397"/>
                  </a:cubicBezTo>
                  <a:cubicBezTo>
                    <a:pt x="4898" y="397"/>
                    <a:pt x="4879" y="374"/>
                    <a:pt x="4879" y="320"/>
                  </a:cubicBezTo>
                  <a:lnTo>
                    <a:pt x="5055" y="320"/>
                  </a:lnTo>
                  <a:cubicBezTo>
                    <a:pt x="5055" y="320"/>
                    <a:pt x="5057" y="301"/>
                    <a:pt x="5057" y="295"/>
                  </a:cubicBezTo>
                  <a:moveTo>
                    <a:pt x="4975" y="273"/>
                  </a:moveTo>
                  <a:lnTo>
                    <a:pt x="4881" y="273"/>
                  </a:lnTo>
                  <a:cubicBezTo>
                    <a:pt x="4881" y="248"/>
                    <a:pt x="4889" y="203"/>
                    <a:pt x="4926" y="203"/>
                  </a:cubicBezTo>
                  <a:cubicBezTo>
                    <a:pt x="4968" y="203"/>
                    <a:pt x="4975" y="246"/>
                    <a:pt x="4975" y="273"/>
                  </a:cubicBezTo>
                  <a:moveTo>
                    <a:pt x="5406" y="301"/>
                  </a:moveTo>
                  <a:cubicBezTo>
                    <a:pt x="5406" y="239"/>
                    <a:pt x="5391" y="145"/>
                    <a:pt x="5293" y="145"/>
                  </a:cubicBezTo>
                  <a:cubicBezTo>
                    <a:pt x="5257" y="145"/>
                    <a:pt x="5219" y="171"/>
                    <a:pt x="5212" y="177"/>
                  </a:cubicBezTo>
                  <a:cubicBezTo>
                    <a:pt x="5212" y="177"/>
                    <a:pt x="5213" y="156"/>
                    <a:pt x="5213" y="145"/>
                  </a:cubicBezTo>
                  <a:lnTo>
                    <a:pt x="5213" y="9"/>
                  </a:lnTo>
                  <a:lnTo>
                    <a:pt x="5130" y="19"/>
                  </a:lnTo>
                  <a:lnTo>
                    <a:pt x="5130" y="389"/>
                  </a:lnTo>
                  <a:cubicBezTo>
                    <a:pt x="5130" y="419"/>
                    <a:pt x="5127" y="453"/>
                    <a:pt x="5127" y="453"/>
                  </a:cubicBezTo>
                  <a:lnTo>
                    <a:pt x="5206" y="453"/>
                  </a:lnTo>
                  <a:cubicBezTo>
                    <a:pt x="5208" y="446"/>
                    <a:pt x="5208" y="434"/>
                    <a:pt x="5208" y="431"/>
                  </a:cubicBezTo>
                  <a:cubicBezTo>
                    <a:pt x="5213" y="434"/>
                    <a:pt x="5249" y="461"/>
                    <a:pt x="5291" y="461"/>
                  </a:cubicBezTo>
                  <a:cubicBezTo>
                    <a:pt x="5365" y="461"/>
                    <a:pt x="5406" y="391"/>
                    <a:pt x="5406" y="301"/>
                  </a:cubicBezTo>
                  <a:moveTo>
                    <a:pt x="5323" y="301"/>
                  </a:moveTo>
                  <a:cubicBezTo>
                    <a:pt x="5323" y="371"/>
                    <a:pt x="5298" y="393"/>
                    <a:pt x="5274" y="393"/>
                  </a:cubicBezTo>
                  <a:cubicBezTo>
                    <a:pt x="5259" y="393"/>
                    <a:pt x="5236" y="389"/>
                    <a:pt x="5213" y="376"/>
                  </a:cubicBezTo>
                  <a:lnTo>
                    <a:pt x="5213" y="233"/>
                  </a:lnTo>
                  <a:cubicBezTo>
                    <a:pt x="5238" y="216"/>
                    <a:pt x="5259" y="211"/>
                    <a:pt x="5276" y="211"/>
                  </a:cubicBezTo>
                  <a:cubicBezTo>
                    <a:pt x="5317" y="211"/>
                    <a:pt x="5323" y="267"/>
                    <a:pt x="5323" y="301"/>
                  </a:cubicBezTo>
                  <a:moveTo>
                    <a:pt x="5727" y="295"/>
                  </a:moveTo>
                  <a:cubicBezTo>
                    <a:pt x="5727" y="224"/>
                    <a:pt x="5701" y="145"/>
                    <a:pt x="5599" y="145"/>
                  </a:cubicBezTo>
                  <a:cubicBezTo>
                    <a:pt x="5508" y="145"/>
                    <a:pt x="5467" y="222"/>
                    <a:pt x="5467" y="303"/>
                  </a:cubicBezTo>
                  <a:cubicBezTo>
                    <a:pt x="5467" y="359"/>
                    <a:pt x="5484" y="461"/>
                    <a:pt x="5593" y="461"/>
                  </a:cubicBezTo>
                  <a:cubicBezTo>
                    <a:pt x="5674" y="461"/>
                    <a:pt x="5723" y="429"/>
                    <a:pt x="5723" y="429"/>
                  </a:cubicBezTo>
                  <a:lnTo>
                    <a:pt x="5720" y="367"/>
                  </a:lnTo>
                  <a:cubicBezTo>
                    <a:pt x="5720" y="367"/>
                    <a:pt x="5661" y="397"/>
                    <a:pt x="5606" y="397"/>
                  </a:cubicBezTo>
                  <a:cubicBezTo>
                    <a:pt x="5570" y="397"/>
                    <a:pt x="5552" y="374"/>
                    <a:pt x="5552" y="320"/>
                  </a:cubicBezTo>
                  <a:lnTo>
                    <a:pt x="5727" y="320"/>
                  </a:lnTo>
                  <a:cubicBezTo>
                    <a:pt x="5727" y="320"/>
                    <a:pt x="5727" y="301"/>
                    <a:pt x="5727" y="295"/>
                  </a:cubicBezTo>
                  <a:moveTo>
                    <a:pt x="5646" y="273"/>
                  </a:moveTo>
                  <a:lnTo>
                    <a:pt x="5552" y="273"/>
                  </a:lnTo>
                  <a:cubicBezTo>
                    <a:pt x="5552" y="248"/>
                    <a:pt x="5559" y="203"/>
                    <a:pt x="5599" y="203"/>
                  </a:cubicBezTo>
                  <a:cubicBezTo>
                    <a:pt x="5640" y="203"/>
                    <a:pt x="5646" y="246"/>
                    <a:pt x="5646" y="273"/>
                  </a:cubicBezTo>
                  <a:moveTo>
                    <a:pt x="6067" y="453"/>
                  </a:moveTo>
                  <a:lnTo>
                    <a:pt x="6067" y="246"/>
                  </a:lnTo>
                  <a:cubicBezTo>
                    <a:pt x="6067" y="218"/>
                    <a:pt x="6062" y="196"/>
                    <a:pt x="6050" y="179"/>
                  </a:cubicBezTo>
                  <a:cubicBezTo>
                    <a:pt x="6037" y="158"/>
                    <a:pt x="6012" y="145"/>
                    <a:pt x="5977" y="145"/>
                  </a:cubicBezTo>
                  <a:cubicBezTo>
                    <a:pt x="5935" y="145"/>
                    <a:pt x="5890" y="180"/>
                    <a:pt x="5880" y="192"/>
                  </a:cubicBezTo>
                  <a:cubicBezTo>
                    <a:pt x="5880" y="173"/>
                    <a:pt x="5876" y="150"/>
                    <a:pt x="5876" y="150"/>
                  </a:cubicBezTo>
                  <a:lnTo>
                    <a:pt x="5797" y="150"/>
                  </a:lnTo>
                  <a:cubicBezTo>
                    <a:pt x="5797" y="150"/>
                    <a:pt x="5801" y="188"/>
                    <a:pt x="5801" y="226"/>
                  </a:cubicBezTo>
                  <a:lnTo>
                    <a:pt x="5801" y="453"/>
                  </a:lnTo>
                  <a:lnTo>
                    <a:pt x="5884" y="453"/>
                  </a:lnTo>
                  <a:lnTo>
                    <a:pt x="5884" y="248"/>
                  </a:lnTo>
                  <a:cubicBezTo>
                    <a:pt x="5895" y="237"/>
                    <a:pt x="5922" y="216"/>
                    <a:pt x="5948" y="216"/>
                  </a:cubicBezTo>
                  <a:cubicBezTo>
                    <a:pt x="5969" y="216"/>
                    <a:pt x="5984" y="220"/>
                    <a:pt x="5984" y="254"/>
                  </a:cubicBezTo>
                  <a:lnTo>
                    <a:pt x="5984" y="453"/>
                  </a:lnTo>
                  <a:lnTo>
                    <a:pt x="6067" y="453"/>
                  </a:lnTo>
                  <a:close/>
                  <a:moveTo>
                    <a:pt x="6233" y="414"/>
                  </a:moveTo>
                  <a:cubicBezTo>
                    <a:pt x="6233" y="393"/>
                    <a:pt x="6218" y="369"/>
                    <a:pt x="6184" y="369"/>
                  </a:cubicBezTo>
                  <a:cubicBezTo>
                    <a:pt x="6152" y="369"/>
                    <a:pt x="6135" y="391"/>
                    <a:pt x="6135" y="414"/>
                  </a:cubicBezTo>
                  <a:cubicBezTo>
                    <a:pt x="6135" y="438"/>
                    <a:pt x="6152" y="461"/>
                    <a:pt x="6184" y="461"/>
                  </a:cubicBezTo>
                  <a:cubicBezTo>
                    <a:pt x="6218" y="461"/>
                    <a:pt x="6233" y="436"/>
                    <a:pt x="6233" y="414"/>
                  </a:cubicBezTo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de-DE" noProof="0">
                <a:solidFill>
                  <a:schemeClr val="tx1"/>
                </a:solidFill>
              </a:endParaRPr>
            </a:p>
          </p:txBody>
        </p:sp>
      </p:grpSp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4"/>
          </p:nvPr>
        </p:nvSpPr>
        <p:spPr>
          <a:xfrm>
            <a:off x="0" y="1341437"/>
            <a:ext cx="9144000" cy="5516561"/>
          </a:xfrm>
        </p:spPr>
        <p:txBody>
          <a:bodyPr lIns="252000" tIns="180000"/>
          <a:lstStyle>
            <a:lvl1pPr>
              <a:buNone/>
              <a:defRPr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dew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2699792" y="6924389"/>
            <a:ext cx="3744416" cy="126000"/>
          </a:xfrm>
        </p:spPr>
        <p:txBody>
          <a:bodyPr/>
          <a:lstStyle/>
          <a:p>
            <a:r>
              <a:rPr lang="de-DE" noProof="0" smtClean="0"/>
              <a:t>Autor der Präsentation</a:t>
            </a:r>
            <a:endParaRPr lang="de-DE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  <p:custDataLst>
              <p:tags r:id="rId2"/>
            </p:custDataLst>
          </p:nvPr>
        </p:nvSpPr>
        <p:spPr>
          <a:xfrm>
            <a:off x="6587380" y="6930940"/>
            <a:ext cx="1296988" cy="108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de-DE" smtClean="0"/>
              <a:t>01.06.2013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7953945" y="6921400"/>
            <a:ext cx="1298575" cy="108000"/>
          </a:xfrm>
        </p:spPr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/>
          </a:p>
        </p:txBody>
      </p:sp>
      <p:sp>
        <p:nvSpPr>
          <p:cNvPr id="6" name="Rectangle 2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C0C0C0"/>
              </a:gs>
            </a:gsLst>
            <a:lin ang="540000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 noProof="0"/>
          </a:p>
        </p:txBody>
      </p:sp>
      <p:sp>
        <p:nvSpPr>
          <p:cNvPr id="36" name="Footer Placeholder 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2699792" y="6924389"/>
            <a:ext cx="3744416" cy="1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utor der Präsentation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1" name="Freeform 2"/>
          <p:cNvSpPr>
            <a:spLocks noEditPoints="1"/>
          </p:cNvSpPr>
          <p:nvPr>
            <p:custDataLst>
              <p:tags r:id="rId6"/>
            </p:custDataLst>
          </p:nvPr>
        </p:nvSpPr>
        <p:spPr bwMode="gray">
          <a:xfrm>
            <a:off x="1655342" y="1484784"/>
            <a:ext cx="1267006" cy="1877389"/>
          </a:xfrm>
          <a:custGeom>
            <a:avLst/>
            <a:gdLst/>
            <a:ahLst/>
            <a:cxnLst>
              <a:cxn ang="0">
                <a:pos x="1709" y="3329"/>
              </a:cxn>
              <a:cxn ang="0">
                <a:pos x="1399" y="3397"/>
              </a:cxn>
              <a:cxn ang="0">
                <a:pos x="1210" y="3370"/>
              </a:cxn>
              <a:cxn ang="0">
                <a:pos x="575" y="2573"/>
              </a:cxn>
              <a:cxn ang="0">
                <a:pos x="1395" y="1753"/>
              </a:cxn>
              <a:cxn ang="0">
                <a:pos x="2216" y="2573"/>
              </a:cxn>
              <a:cxn ang="0">
                <a:pos x="1709" y="3329"/>
              </a:cxn>
              <a:cxn ang="0">
                <a:pos x="1399" y="1202"/>
              </a:cxn>
              <a:cxn ang="0">
                <a:pos x="597" y="1478"/>
              </a:cxn>
              <a:cxn ang="0">
                <a:pos x="597" y="0"/>
              </a:cxn>
              <a:cxn ang="0">
                <a:pos x="0" y="0"/>
              </a:cxn>
              <a:cxn ang="0">
                <a:pos x="0" y="3937"/>
              </a:cxn>
              <a:cxn ang="0">
                <a:pos x="597" y="3937"/>
              </a:cxn>
              <a:cxn ang="0">
                <a:pos x="597" y="3706"/>
              </a:cxn>
              <a:cxn ang="0">
                <a:pos x="1399" y="3967"/>
              </a:cxn>
              <a:cxn ang="0">
                <a:pos x="2783" y="2584"/>
              </a:cxn>
              <a:cxn ang="0">
                <a:pos x="1399" y="1202"/>
              </a:cxn>
            </a:cxnLst>
            <a:rect l="0" t="0" r="r" b="b"/>
            <a:pathLst>
              <a:path w="2783" h="3967">
                <a:moveTo>
                  <a:pt x="1709" y="3329"/>
                </a:moveTo>
                <a:cubicBezTo>
                  <a:pt x="1615" y="3374"/>
                  <a:pt x="1512" y="3397"/>
                  <a:pt x="1399" y="3397"/>
                </a:cubicBezTo>
                <a:cubicBezTo>
                  <a:pt x="1335" y="3397"/>
                  <a:pt x="1270" y="3385"/>
                  <a:pt x="1210" y="3370"/>
                </a:cubicBezTo>
                <a:cubicBezTo>
                  <a:pt x="847" y="3287"/>
                  <a:pt x="575" y="2962"/>
                  <a:pt x="575" y="2573"/>
                </a:cubicBezTo>
                <a:cubicBezTo>
                  <a:pt x="575" y="2120"/>
                  <a:pt x="941" y="1753"/>
                  <a:pt x="1395" y="1753"/>
                </a:cubicBezTo>
                <a:cubicBezTo>
                  <a:pt x="1849" y="1753"/>
                  <a:pt x="2216" y="2120"/>
                  <a:pt x="2216" y="2573"/>
                </a:cubicBezTo>
                <a:cubicBezTo>
                  <a:pt x="2216" y="2913"/>
                  <a:pt x="2008" y="3208"/>
                  <a:pt x="1709" y="3329"/>
                </a:cubicBezTo>
                <a:close/>
                <a:moveTo>
                  <a:pt x="1399" y="1202"/>
                </a:moveTo>
                <a:cubicBezTo>
                  <a:pt x="1093" y="1202"/>
                  <a:pt x="820" y="1308"/>
                  <a:pt x="597" y="1478"/>
                </a:cubicBezTo>
                <a:lnTo>
                  <a:pt x="597" y="0"/>
                </a:lnTo>
                <a:lnTo>
                  <a:pt x="0" y="0"/>
                </a:lnTo>
                <a:lnTo>
                  <a:pt x="0" y="3937"/>
                </a:lnTo>
                <a:lnTo>
                  <a:pt x="597" y="3937"/>
                </a:lnTo>
                <a:lnTo>
                  <a:pt x="597" y="3706"/>
                </a:lnTo>
                <a:cubicBezTo>
                  <a:pt x="820" y="3869"/>
                  <a:pt x="1093" y="3967"/>
                  <a:pt x="1399" y="3967"/>
                </a:cubicBezTo>
                <a:cubicBezTo>
                  <a:pt x="2163" y="3967"/>
                  <a:pt x="2783" y="3348"/>
                  <a:pt x="2783" y="2584"/>
                </a:cubicBezTo>
                <a:cubicBezTo>
                  <a:pt x="2783" y="1821"/>
                  <a:pt x="2163" y="1202"/>
                  <a:pt x="1399" y="1202"/>
                </a:cubicBezTo>
                <a:close/>
              </a:path>
            </a:pathLst>
          </a:custGeom>
          <a:solidFill>
            <a:srgbClr val="A01432"/>
          </a:solidFill>
          <a:ln w="0" cap="flat" cmpd="sng">
            <a:noFill/>
            <a:prstDash val="solid"/>
            <a:round/>
            <a:headEnd type="none" w="med" len="med"/>
            <a:tailEnd type="none" w="med" len="med"/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/>
          <a:p>
            <a:endParaRPr lang="de-DE" noProof="0"/>
          </a:p>
        </p:txBody>
      </p:sp>
      <p:sp>
        <p:nvSpPr>
          <p:cNvPr id="42" name="Freeform 3"/>
          <p:cNvSpPr>
            <a:spLocks noEditPoints="1"/>
          </p:cNvSpPr>
          <p:nvPr>
            <p:custDataLst>
              <p:tags r:id="rId7"/>
            </p:custDataLst>
          </p:nvPr>
        </p:nvSpPr>
        <p:spPr bwMode="gray">
          <a:xfrm>
            <a:off x="2998646" y="1484784"/>
            <a:ext cx="1267006" cy="1877389"/>
          </a:xfrm>
          <a:custGeom>
            <a:avLst/>
            <a:gdLst/>
            <a:ahLst/>
            <a:cxnLst>
              <a:cxn ang="0">
                <a:pos x="785" y="1685"/>
              </a:cxn>
              <a:cxn ang="0">
                <a:pos x="690" y="1699"/>
              </a:cxn>
              <a:cxn ang="0">
                <a:pos x="537" y="1665"/>
              </a:cxn>
              <a:cxn ang="0">
                <a:pos x="284" y="1287"/>
              </a:cxn>
              <a:cxn ang="0">
                <a:pos x="694" y="877"/>
              </a:cxn>
              <a:cxn ang="0">
                <a:pos x="1104" y="1287"/>
              </a:cxn>
              <a:cxn ang="0">
                <a:pos x="785" y="1685"/>
              </a:cxn>
              <a:cxn ang="0">
                <a:pos x="1093" y="0"/>
              </a:cxn>
              <a:cxn ang="0">
                <a:pos x="1093" y="739"/>
              </a:cxn>
              <a:cxn ang="0">
                <a:pos x="690" y="601"/>
              </a:cxn>
              <a:cxn ang="0">
                <a:pos x="0" y="1292"/>
              </a:cxn>
              <a:cxn ang="0">
                <a:pos x="690" y="1984"/>
              </a:cxn>
              <a:cxn ang="0">
                <a:pos x="1093" y="1853"/>
              </a:cxn>
              <a:cxn ang="0">
                <a:pos x="1093" y="1969"/>
              </a:cxn>
              <a:cxn ang="0">
                <a:pos x="1392" y="1969"/>
              </a:cxn>
              <a:cxn ang="0">
                <a:pos x="1392" y="0"/>
              </a:cxn>
              <a:cxn ang="0">
                <a:pos x="1093" y="0"/>
              </a:cxn>
            </a:cxnLst>
            <a:rect l="0" t="0" r="r" b="b"/>
            <a:pathLst>
              <a:path w="1392" h="1984">
                <a:moveTo>
                  <a:pt x="785" y="1685"/>
                </a:moveTo>
                <a:cubicBezTo>
                  <a:pt x="756" y="1693"/>
                  <a:pt x="724" y="1699"/>
                  <a:pt x="690" y="1699"/>
                </a:cubicBezTo>
                <a:cubicBezTo>
                  <a:pt x="635" y="1699"/>
                  <a:pt x="583" y="1687"/>
                  <a:pt x="537" y="1665"/>
                </a:cubicBezTo>
                <a:cubicBezTo>
                  <a:pt x="388" y="1604"/>
                  <a:pt x="284" y="1457"/>
                  <a:pt x="284" y="1287"/>
                </a:cubicBezTo>
                <a:cubicBezTo>
                  <a:pt x="284" y="1060"/>
                  <a:pt x="467" y="877"/>
                  <a:pt x="694" y="877"/>
                </a:cubicBezTo>
                <a:cubicBezTo>
                  <a:pt x="921" y="877"/>
                  <a:pt x="1104" y="1060"/>
                  <a:pt x="1104" y="1287"/>
                </a:cubicBezTo>
                <a:cubicBezTo>
                  <a:pt x="1104" y="1481"/>
                  <a:pt x="968" y="1644"/>
                  <a:pt x="785" y="1685"/>
                </a:cubicBezTo>
                <a:close/>
                <a:moveTo>
                  <a:pt x="1093" y="0"/>
                </a:moveTo>
                <a:lnTo>
                  <a:pt x="1093" y="739"/>
                </a:lnTo>
                <a:cubicBezTo>
                  <a:pt x="981" y="654"/>
                  <a:pt x="843" y="601"/>
                  <a:pt x="690" y="601"/>
                </a:cubicBezTo>
                <a:cubicBezTo>
                  <a:pt x="310" y="601"/>
                  <a:pt x="0" y="911"/>
                  <a:pt x="0" y="1292"/>
                </a:cubicBezTo>
                <a:cubicBezTo>
                  <a:pt x="0" y="1674"/>
                  <a:pt x="310" y="1984"/>
                  <a:pt x="690" y="1984"/>
                </a:cubicBezTo>
                <a:cubicBezTo>
                  <a:pt x="843" y="1984"/>
                  <a:pt x="981" y="1935"/>
                  <a:pt x="1093" y="1853"/>
                </a:cubicBezTo>
                <a:lnTo>
                  <a:pt x="1093" y="1969"/>
                </a:lnTo>
                <a:lnTo>
                  <a:pt x="1392" y="1969"/>
                </a:lnTo>
                <a:lnTo>
                  <a:pt x="1392" y="0"/>
                </a:lnTo>
                <a:lnTo>
                  <a:pt x="1093" y="0"/>
                </a:lnTo>
                <a:close/>
              </a:path>
            </a:pathLst>
          </a:custGeom>
          <a:solidFill>
            <a:srgbClr val="A01432"/>
          </a:solidFill>
          <a:ln w="0">
            <a:noFill/>
            <a:prstDash val="solid"/>
            <a:round/>
            <a:headEnd/>
            <a:tailEnd/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/>
          <a:p>
            <a:endParaRPr lang="de-DE" noProof="0"/>
          </a:p>
        </p:txBody>
      </p:sp>
      <p:sp>
        <p:nvSpPr>
          <p:cNvPr id="43" name="Freeform 4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4355823" y="2025805"/>
            <a:ext cx="1267006" cy="1320184"/>
          </a:xfrm>
          <a:custGeom>
            <a:avLst/>
            <a:gdLst/>
            <a:ahLst/>
            <a:cxnLst>
              <a:cxn ang="0">
                <a:pos x="1384" y="800"/>
              </a:cxn>
              <a:cxn ang="0">
                <a:pos x="1391" y="696"/>
              </a:cxn>
              <a:cxn ang="0">
                <a:pos x="697" y="0"/>
              </a:cxn>
              <a:cxn ang="0">
                <a:pos x="0" y="696"/>
              </a:cxn>
              <a:cxn ang="0">
                <a:pos x="697" y="1392"/>
              </a:cxn>
              <a:cxn ang="0">
                <a:pos x="1344" y="948"/>
              </a:cxn>
              <a:cxn ang="0">
                <a:pos x="1017" y="948"/>
              </a:cxn>
              <a:cxn ang="0">
                <a:pos x="697" y="1107"/>
              </a:cxn>
              <a:cxn ang="0">
                <a:pos x="286" y="696"/>
              </a:cxn>
              <a:cxn ang="0">
                <a:pos x="697" y="288"/>
              </a:cxn>
              <a:cxn ang="0">
                <a:pos x="1062" y="515"/>
              </a:cxn>
              <a:cxn ang="0">
                <a:pos x="566" y="515"/>
              </a:cxn>
              <a:cxn ang="0">
                <a:pos x="566" y="800"/>
              </a:cxn>
              <a:cxn ang="0">
                <a:pos x="1384" y="800"/>
              </a:cxn>
            </a:cxnLst>
            <a:rect l="0" t="0" r="r" b="b"/>
            <a:pathLst>
              <a:path w="1391" h="1392">
                <a:moveTo>
                  <a:pt x="1384" y="800"/>
                </a:moveTo>
                <a:cubicBezTo>
                  <a:pt x="1390" y="766"/>
                  <a:pt x="1391" y="732"/>
                  <a:pt x="1391" y="696"/>
                </a:cubicBezTo>
                <a:cubicBezTo>
                  <a:pt x="1391" y="312"/>
                  <a:pt x="1081" y="0"/>
                  <a:pt x="697" y="0"/>
                </a:cubicBezTo>
                <a:cubicBezTo>
                  <a:pt x="310" y="0"/>
                  <a:pt x="0" y="312"/>
                  <a:pt x="0" y="696"/>
                </a:cubicBezTo>
                <a:cubicBezTo>
                  <a:pt x="0" y="1082"/>
                  <a:pt x="310" y="1392"/>
                  <a:pt x="697" y="1392"/>
                </a:cubicBezTo>
                <a:cubicBezTo>
                  <a:pt x="992" y="1392"/>
                  <a:pt x="1244" y="1207"/>
                  <a:pt x="1344" y="948"/>
                </a:cubicBezTo>
                <a:lnTo>
                  <a:pt x="1017" y="948"/>
                </a:lnTo>
                <a:cubicBezTo>
                  <a:pt x="943" y="1044"/>
                  <a:pt x="827" y="1107"/>
                  <a:pt x="697" y="1107"/>
                </a:cubicBezTo>
                <a:cubicBezTo>
                  <a:pt x="469" y="1107"/>
                  <a:pt x="286" y="923"/>
                  <a:pt x="286" y="696"/>
                </a:cubicBezTo>
                <a:cubicBezTo>
                  <a:pt x="286" y="471"/>
                  <a:pt x="469" y="288"/>
                  <a:pt x="697" y="288"/>
                </a:cubicBezTo>
                <a:cubicBezTo>
                  <a:pt x="856" y="288"/>
                  <a:pt x="994" y="381"/>
                  <a:pt x="1062" y="515"/>
                </a:cubicBezTo>
                <a:lnTo>
                  <a:pt x="566" y="515"/>
                </a:lnTo>
                <a:lnTo>
                  <a:pt x="566" y="800"/>
                </a:lnTo>
                <a:lnTo>
                  <a:pt x="1384" y="800"/>
                </a:lnTo>
                <a:close/>
              </a:path>
            </a:pathLst>
          </a:custGeom>
          <a:solidFill>
            <a:srgbClr val="A01432"/>
          </a:solidFill>
          <a:ln w="0">
            <a:noFill/>
            <a:prstDash val="solid"/>
            <a:round/>
            <a:headEnd/>
            <a:tailEnd/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/>
          <a:p>
            <a:endParaRPr lang="de-DE" noProof="0"/>
          </a:p>
        </p:txBody>
      </p:sp>
      <p:sp>
        <p:nvSpPr>
          <p:cNvPr id="44" name="Freeform 5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5715312" y="2065111"/>
            <a:ext cx="1623063" cy="12970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869"/>
              </a:cxn>
              <a:cxn ang="0">
                <a:pos x="523" y="1367"/>
              </a:cxn>
              <a:cxn ang="0">
                <a:pos x="890" y="1204"/>
              </a:cxn>
              <a:cxn ang="0">
                <a:pos x="1253" y="1367"/>
              </a:cxn>
              <a:cxn ang="0">
                <a:pos x="1775" y="869"/>
              </a:cxn>
              <a:cxn ang="0">
                <a:pos x="1775" y="0"/>
              </a:cxn>
              <a:cxn ang="0">
                <a:pos x="1461" y="0"/>
              </a:cxn>
              <a:cxn ang="0">
                <a:pos x="1461" y="877"/>
              </a:cxn>
              <a:cxn ang="0">
                <a:pos x="1253" y="1076"/>
              </a:cxn>
              <a:cxn ang="0">
                <a:pos x="1047" y="877"/>
              </a:cxn>
              <a:cxn ang="0">
                <a:pos x="1047" y="0"/>
              </a:cxn>
              <a:cxn ang="0">
                <a:pos x="733" y="0"/>
              </a:cxn>
              <a:cxn ang="0">
                <a:pos x="733" y="877"/>
              </a:cxn>
              <a:cxn ang="0">
                <a:pos x="523" y="1076"/>
              </a:cxn>
              <a:cxn ang="0">
                <a:pos x="315" y="877"/>
              </a:cxn>
              <a:cxn ang="0">
                <a:pos x="315" y="0"/>
              </a:cxn>
              <a:cxn ang="0">
                <a:pos x="0" y="0"/>
              </a:cxn>
            </a:cxnLst>
            <a:rect l="0" t="0" r="r" b="b"/>
            <a:pathLst>
              <a:path w="1775" h="1367">
                <a:moveTo>
                  <a:pt x="0" y="0"/>
                </a:moveTo>
                <a:lnTo>
                  <a:pt x="0" y="869"/>
                </a:lnTo>
                <a:cubicBezTo>
                  <a:pt x="0" y="1145"/>
                  <a:pt x="237" y="1367"/>
                  <a:pt x="523" y="1367"/>
                </a:cubicBezTo>
                <a:cubicBezTo>
                  <a:pt x="661" y="1367"/>
                  <a:pt x="820" y="1293"/>
                  <a:pt x="890" y="1204"/>
                </a:cubicBezTo>
                <a:cubicBezTo>
                  <a:pt x="956" y="1293"/>
                  <a:pt x="1115" y="1367"/>
                  <a:pt x="1253" y="1367"/>
                </a:cubicBezTo>
                <a:cubicBezTo>
                  <a:pt x="1541" y="1367"/>
                  <a:pt x="1775" y="1145"/>
                  <a:pt x="1775" y="869"/>
                </a:cubicBezTo>
                <a:lnTo>
                  <a:pt x="1775" y="0"/>
                </a:lnTo>
                <a:lnTo>
                  <a:pt x="1461" y="0"/>
                </a:lnTo>
                <a:lnTo>
                  <a:pt x="1461" y="877"/>
                </a:lnTo>
                <a:cubicBezTo>
                  <a:pt x="1461" y="985"/>
                  <a:pt x="1369" y="1076"/>
                  <a:pt x="1253" y="1076"/>
                </a:cubicBezTo>
                <a:cubicBezTo>
                  <a:pt x="1142" y="1076"/>
                  <a:pt x="1047" y="985"/>
                  <a:pt x="1047" y="877"/>
                </a:cubicBezTo>
                <a:lnTo>
                  <a:pt x="1047" y="0"/>
                </a:lnTo>
                <a:lnTo>
                  <a:pt x="733" y="0"/>
                </a:lnTo>
                <a:lnTo>
                  <a:pt x="733" y="877"/>
                </a:lnTo>
                <a:cubicBezTo>
                  <a:pt x="733" y="985"/>
                  <a:pt x="638" y="1076"/>
                  <a:pt x="523" y="1076"/>
                </a:cubicBezTo>
                <a:cubicBezTo>
                  <a:pt x="407" y="1076"/>
                  <a:pt x="315" y="985"/>
                  <a:pt x="315" y="877"/>
                </a:cubicBezTo>
                <a:lnTo>
                  <a:pt x="315" y="0"/>
                </a:lnTo>
                <a:lnTo>
                  <a:pt x="0" y="0"/>
                </a:lnTo>
                <a:close/>
              </a:path>
            </a:pathLst>
          </a:custGeom>
          <a:solidFill>
            <a:srgbClr val="A01432"/>
          </a:solidFill>
          <a:ln w="0">
            <a:noFill/>
            <a:prstDash val="solid"/>
            <a:round/>
            <a:headEnd/>
            <a:tailEnd/>
          </a:ln>
          <a:effectLst>
            <a:reflection blurRad="6350" stA="52000" endA="300" endPos="35000" dir="5400000" sy="-100000" algn="bl" rotWithShape="0"/>
          </a:effectLst>
        </p:spPr>
        <p:txBody>
          <a:bodyPr/>
          <a:lstStyle/>
          <a:p>
            <a:endParaRPr lang="de-DE" noProof="0"/>
          </a:p>
        </p:txBody>
      </p:sp>
      <p:pic>
        <p:nvPicPr>
          <p:cNvPr id="45" name="Picture 18" descr="Bild2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print">
            <a:grayscl/>
          </a:blip>
          <a:srcRect l="35294" t="9756" r="28235"/>
          <a:stretch>
            <a:fillRect/>
          </a:stretch>
        </p:blipFill>
        <p:spPr bwMode="gray">
          <a:xfrm>
            <a:off x="3692263" y="4416471"/>
            <a:ext cx="2078539" cy="513276"/>
          </a:xfrm>
          <a:prstGeom prst="rect">
            <a:avLst/>
          </a:prstGeom>
          <a:noFill/>
        </p:spPr>
      </p:pic>
      <p:pic>
        <p:nvPicPr>
          <p:cNvPr id="46" name="Picture 19" descr="Bild2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9" cstate="print">
            <a:grayscl/>
          </a:blip>
          <a:srcRect l="69939"/>
          <a:stretch>
            <a:fillRect/>
          </a:stretch>
        </p:blipFill>
        <p:spPr bwMode="gray">
          <a:xfrm>
            <a:off x="5671382" y="4360981"/>
            <a:ext cx="1713234" cy="568766"/>
          </a:xfrm>
          <a:prstGeom prst="rect">
            <a:avLst/>
          </a:prstGeom>
          <a:noFill/>
        </p:spPr>
      </p:pic>
      <p:pic>
        <p:nvPicPr>
          <p:cNvPr id="47" name="Picture 17" descr="Bild2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9" cstate="print">
            <a:grayscl/>
          </a:blip>
          <a:srcRect t="-18700" r="63205"/>
          <a:stretch>
            <a:fillRect/>
          </a:stretch>
        </p:blipFill>
        <p:spPr bwMode="gray">
          <a:xfrm>
            <a:off x="1690023" y="4259251"/>
            <a:ext cx="2097035" cy="675120"/>
          </a:xfrm>
          <a:prstGeom prst="rect">
            <a:avLst/>
          </a:prstGeom>
          <a:noFill/>
        </p:spPr>
      </p:pic>
      <p:pic>
        <p:nvPicPr>
          <p:cNvPr id="48" name="Picture 16" descr="Bild1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0" cstate="print"/>
          <a:srcRect l="34929" t="-23576" r="30101"/>
          <a:stretch>
            <a:fillRect/>
          </a:stretch>
        </p:blipFill>
        <p:spPr bwMode="gray">
          <a:xfrm>
            <a:off x="3680703" y="3887011"/>
            <a:ext cx="1992992" cy="702865"/>
          </a:xfrm>
          <a:prstGeom prst="rect">
            <a:avLst/>
          </a:prstGeom>
          <a:noFill/>
        </p:spPr>
      </p:pic>
      <p:pic>
        <p:nvPicPr>
          <p:cNvPr id="49" name="Picture 20" descr="Bild1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0" cstate="print"/>
          <a:srcRect l="69899" t="-23576" r="-3003"/>
          <a:stretch>
            <a:fillRect/>
          </a:stretch>
        </p:blipFill>
        <p:spPr bwMode="gray">
          <a:xfrm>
            <a:off x="5673695" y="3887011"/>
            <a:ext cx="1886637" cy="702865"/>
          </a:xfrm>
          <a:prstGeom prst="rect">
            <a:avLst/>
          </a:prstGeom>
          <a:noFill/>
        </p:spPr>
      </p:pic>
      <p:sp>
        <p:nvSpPr>
          <p:cNvPr id="50" name="Freeform 5"/>
          <p:cNvSpPr>
            <a:spLocks noEditPoints="1"/>
          </p:cNvSpPr>
          <p:nvPr/>
        </p:nvSpPr>
        <p:spPr bwMode="gray">
          <a:xfrm>
            <a:off x="1689100" y="4019550"/>
            <a:ext cx="5681663" cy="549275"/>
          </a:xfrm>
          <a:custGeom>
            <a:avLst/>
            <a:gdLst/>
            <a:ahLst/>
            <a:cxnLst>
              <a:cxn ang="0">
                <a:pos x="373" y="469"/>
              </a:cxn>
              <a:cxn ang="0">
                <a:pos x="419" y="76"/>
              </a:cxn>
              <a:cxn ang="0">
                <a:pos x="971" y="418"/>
              </a:cxn>
              <a:cxn ang="0">
                <a:pos x="531" y="255"/>
              </a:cxn>
              <a:cxn ang="0">
                <a:pos x="779" y="367"/>
              </a:cxn>
              <a:cxn ang="0">
                <a:pos x="1301" y="246"/>
              </a:cxn>
              <a:cxn ang="0">
                <a:pos x="1313" y="675"/>
              </a:cxn>
              <a:cxn ang="0">
                <a:pos x="1226" y="464"/>
              </a:cxn>
              <a:cxn ang="0">
                <a:pos x="1773" y="309"/>
              </a:cxn>
              <a:cxn ang="0">
                <a:pos x="1637" y="770"/>
              </a:cxn>
              <a:cxn ang="0">
                <a:pos x="1931" y="258"/>
              </a:cxn>
              <a:cxn ang="0">
                <a:pos x="2001" y="512"/>
              </a:cxn>
              <a:cxn ang="0">
                <a:pos x="2312" y="820"/>
              </a:cxn>
              <a:cxn ang="0">
                <a:pos x="2447" y="845"/>
              </a:cxn>
              <a:cxn ang="0">
                <a:pos x="2213" y="656"/>
              </a:cxn>
              <a:cxn ang="0">
                <a:pos x="2728" y="83"/>
              </a:cxn>
              <a:cxn ang="0">
                <a:pos x="2713" y="770"/>
              </a:cxn>
              <a:cxn ang="0">
                <a:pos x="2713" y="770"/>
              </a:cxn>
              <a:cxn ang="0">
                <a:pos x="3250" y="730"/>
              </a:cxn>
              <a:cxn ang="0">
                <a:pos x="3257" y="502"/>
              </a:cxn>
              <a:cxn ang="0">
                <a:pos x="3526" y="704"/>
              </a:cxn>
              <a:cxn ang="0">
                <a:pos x="4599" y="87"/>
              </a:cxn>
              <a:cxn ang="0">
                <a:pos x="4243" y="76"/>
              </a:cxn>
              <a:cxn ang="0">
                <a:pos x="3886" y="70"/>
              </a:cxn>
              <a:cxn ang="0">
                <a:pos x="4169" y="272"/>
              </a:cxn>
              <a:cxn ang="0">
                <a:pos x="5062" y="770"/>
              </a:cxn>
              <a:cxn ang="0">
                <a:pos x="4686" y="291"/>
              </a:cxn>
              <a:cxn ang="0">
                <a:pos x="4703" y="522"/>
              </a:cxn>
              <a:cxn ang="0">
                <a:pos x="5062" y="770"/>
              </a:cxn>
              <a:cxn ang="0">
                <a:pos x="4920" y="544"/>
              </a:cxn>
              <a:cxn ang="0">
                <a:pos x="5352" y="355"/>
              </a:cxn>
              <a:cxn ang="0">
                <a:pos x="5363" y="578"/>
              </a:cxn>
              <a:cxn ang="0">
                <a:pos x="5348" y="784"/>
              </a:cxn>
              <a:cxn ang="0">
                <a:pos x="5804" y="355"/>
              </a:cxn>
              <a:cxn ang="0">
                <a:pos x="5813" y="578"/>
              </a:cxn>
              <a:cxn ang="0">
                <a:pos x="5799" y="784"/>
              </a:cxn>
              <a:cxn ang="0">
                <a:pos x="6278" y="784"/>
              </a:cxn>
              <a:cxn ang="0">
                <a:pos x="6502" y="544"/>
              </a:cxn>
              <a:cxn ang="0">
                <a:pos x="6369" y="464"/>
              </a:cxn>
              <a:cxn ang="0">
                <a:pos x="6748" y="255"/>
              </a:cxn>
              <a:cxn ang="0">
                <a:pos x="6757" y="410"/>
              </a:cxn>
              <a:cxn ang="0">
                <a:pos x="6969" y="627"/>
              </a:cxn>
              <a:cxn ang="0">
                <a:pos x="7803" y="643"/>
              </a:cxn>
              <a:cxn ang="0">
                <a:pos x="7803" y="770"/>
              </a:cxn>
              <a:cxn ang="0">
                <a:pos x="8299" y="730"/>
              </a:cxn>
              <a:cxn ang="0">
                <a:pos x="8309" y="502"/>
              </a:cxn>
              <a:cxn ang="0">
                <a:pos x="8883" y="512"/>
              </a:cxn>
              <a:cxn ang="0">
                <a:pos x="8429" y="32"/>
              </a:cxn>
              <a:cxn ang="0">
                <a:pos x="8694" y="784"/>
              </a:cxn>
              <a:cxn ang="0">
                <a:pos x="8566" y="396"/>
              </a:cxn>
              <a:cxn ang="0">
                <a:pos x="8983" y="515"/>
              </a:cxn>
              <a:cxn ang="0">
                <a:pos x="9123" y="544"/>
              </a:cxn>
              <a:cxn ang="0">
                <a:pos x="9200" y="345"/>
              </a:cxn>
              <a:cxn ang="0">
                <a:pos x="9821" y="246"/>
              </a:cxn>
              <a:cxn ang="0">
                <a:pos x="9532" y="770"/>
              </a:cxn>
              <a:cxn ang="0">
                <a:pos x="9832" y="770"/>
              </a:cxn>
              <a:cxn ang="0">
                <a:pos x="10161" y="784"/>
              </a:cxn>
            </a:cxnLst>
            <a:rect l="0" t="0" r="r" b="b"/>
            <a:pathLst>
              <a:path w="10242" h="991">
                <a:moveTo>
                  <a:pt x="429" y="770"/>
                </a:moveTo>
                <a:lnTo>
                  <a:pt x="429" y="650"/>
                </a:lnTo>
                <a:lnTo>
                  <a:pt x="136" y="650"/>
                </a:lnTo>
                <a:lnTo>
                  <a:pt x="136" y="469"/>
                </a:lnTo>
                <a:lnTo>
                  <a:pt x="373" y="469"/>
                </a:lnTo>
                <a:lnTo>
                  <a:pt x="373" y="352"/>
                </a:lnTo>
                <a:lnTo>
                  <a:pt x="136" y="352"/>
                </a:lnTo>
                <a:lnTo>
                  <a:pt x="136" y="197"/>
                </a:lnTo>
                <a:lnTo>
                  <a:pt x="407" y="197"/>
                </a:lnTo>
                <a:lnTo>
                  <a:pt x="419" y="76"/>
                </a:lnTo>
                <a:lnTo>
                  <a:pt x="0" y="76"/>
                </a:lnTo>
                <a:lnTo>
                  <a:pt x="0" y="770"/>
                </a:lnTo>
                <a:lnTo>
                  <a:pt x="429" y="770"/>
                </a:lnTo>
                <a:close/>
                <a:moveTo>
                  <a:pt x="971" y="770"/>
                </a:moveTo>
                <a:lnTo>
                  <a:pt x="971" y="418"/>
                </a:lnTo>
                <a:cubicBezTo>
                  <a:pt x="971" y="371"/>
                  <a:pt x="966" y="333"/>
                  <a:pt x="946" y="304"/>
                </a:cubicBezTo>
                <a:cubicBezTo>
                  <a:pt x="922" y="269"/>
                  <a:pt x="884" y="246"/>
                  <a:pt x="826" y="246"/>
                </a:cubicBezTo>
                <a:cubicBezTo>
                  <a:pt x="754" y="246"/>
                  <a:pt x="684" y="306"/>
                  <a:pt x="664" y="326"/>
                </a:cubicBezTo>
                <a:cubicBezTo>
                  <a:pt x="664" y="294"/>
                  <a:pt x="659" y="255"/>
                  <a:pt x="659" y="255"/>
                </a:cubicBezTo>
                <a:lnTo>
                  <a:pt x="531" y="255"/>
                </a:lnTo>
                <a:cubicBezTo>
                  <a:pt x="531" y="255"/>
                  <a:pt x="537" y="320"/>
                  <a:pt x="537" y="384"/>
                </a:cubicBezTo>
                <a:lnTo>
                  <a:pt x="537" y="770"/>
                </a:lnTo>
                <a:lnTo>
                  <a:pt x="670" y="770"/>
                </a:lnTo>
                <a:lnTo>
                  <a:pt x="670" y="422"/>
                </a:lnTo>
                <a:cubicBezTo>
                  <a:pt x="688" y="403"/>
                  <a:pt x="736" y="367"/>
                  <a:pt x="779" y="367"/>
                </a:cubicBezTo>
                <a:cubicBezTo>
                  <a:pt x="813" y="367"/>
                  <a:pt x="835" y="374"/>
                  <a:pt x="835" y="432"/>
                </a:cubicBezTo>
                <a:lnTo>
                  <a:pt x="835" y="770"/>
                </a:lnTo>
                <a:lnTo>
                  <a:pt x="971" y="770"/>
                </a:lnTo>
                <a:close/>
                <a:moveTo>
                  <a:pt x="1515" y="502"/>
                </a:moveTo>
                <a:cubicBezTo>
                  <a:pt x="1515" y="381"/>
                  <a:pt x="1471" y="246"/>
                  <a:pt x="1301" y="246"/>
                </a:cubicBezTo>
                <a:cubicBezTo>
                  <a:pt x="1152" y="246"/>
                  <a:pt x="1083" y="377"/>
                  <a:pt x="1083" y="515"/>
                </a:cubicBezTo>
                <a:cubicBezTo>
                  <a:pt x="1083" y="610"/>
                  <a:pt x="1114" y="784"/>
                  <a:pt x="1291" y="784"/>
                </a:cubicBezTo>
                <a:cubicBezTo>
                  <a:pt x="1428" y="784"/>
                  <a:pt x="1505" y="730"/>
                  <a:pt x="1505" y="730"/>
                </a:cubicBezTo>
                <a:lnTo>
                  <a:pt x="1502" y="624"/>
                </a:lnTo>
                <a:cubicBezTo>
                  <a:pt x="1502" y="624"/>
                  <a:pt x="1406" y="675"/>
                  <a:pt x="1313" y="675"/>
                </a:cubicBezTo>
                <a:cubicBezTo>
                  <a:pt x="1254" y="675"/>
                  <a:pt x="1226" y="636"/>
                  <a:pt x="1226" y="544"/>
                </a:cubicBezTo>
                <a:lnTo>
                  <a:pt x="1515" y="544"/>
                </a:lnTo>
                <a:cubicBezTo>
                  <a:pt x="1515" y="544"/>
                  <a:pt x="1515" y="512"/>
                  <a:pt x="1515" y="502"/>
                </a:cubicBezTo>
                <a:moveTo>
                  <a:pt x="1382" y="464"/>
                </a:moveTo>
                <a:lnTo>
                  <a:pt x="1226" y="464"/>
                </a:lnTo>
                <a:cubicBezTo>
                  <a:pt x="1226" y="422"/>
                  <a:pt x="1239" y="345"/>
                  <a:pt x="1301" y="345"/>
                </a:cubicBezTo>
                <a:cubicBezTo>
                  <a:pt x="1372" y="345"/>
                  <a:pt x="1382" y="418"/>
                  <a:pt x="1382" y="464"/>
                </a:cubicBezTo>
                <a:moveTo>
                  <a:pt x="1931" y="258"/>
                </a:moveTo>
                <a:cubicBezTo>
                  <a:pt x="1931" y="258"/>
                  <a:pt x="1921" y="250"/>
                  <a:pt x="1872" y="250"/>
                </a:cubicBezTo>
                <a:cubicBezTo>
                  <a:pt x="1832" y="250"/>
                  <a:pt x="1794" y="287"/>
                  <a:pt x="1773" y="309"/>
                </a:cubicBezTo>
                <a:cubicBezTo>
                  <a:pt x="1770" y="313"/>
                  <a:pt x="1766" y="316"/>
                  <a:pt x="1766" y="316"/>
                </a:cubicBezTo>
                <a:cubicBezTo>
                  <a:pt x="1766" y="294"/>
                  <a:pt x="1760" y="255"/>
                  <a:pt x="1760" y="255"/>
                </a:cubicBezTo>
                <a:lnTo>
                  <a:pt x="1630" y="255"/>
                </a:lnTo>
                <a:cubicBezTo>
                  <a:pt x="1630" y="255"/>
                  <a:pt x="1637" y="320"/>
                  <a:pt x="1637" y="384"/>
                </a:cubicBezTo>
                <a:lnTo>
                  <a:pt x="1637" y="770"/>
                </a:lnTo>
                <a:lnTo>
                  <a:pt x="1770" y="770"/>
                </a:lnTo>
                <a:lnTo>
                  <a:pt x="1770" y="410"/>
                </a:lnTo>
                <a:cubicBezTo>
                  <a:pt x="1804" y="377"/>
                  <a:pt x="1834" y="360"/>
                  <a:pt x="1850" y="360"/>
                </a:cubicBezTo>
                <a:cubicBezTo>
                  <a:pt x="1888" y="360"/>
                  <a:pt x="1918" y="367"/>
                  <a:pt x="1918" y="367"/>
                </a:cubicBezTo>
                <a:lnTo>
                  <a:pt x="1931" y="258"/>
                </a:lnTo>
                <a:close/>
                <a:moveTo>
                  <a:pt x="2458" y="255"/>
                </a:moveTo>
                <a:lnTo>
                  <a:pt x="2332" y="255"/>
                </a:lnTo>
                <a:cubicBezTo>
                  <a:pt x="2332" y="255"/>
                  <a:pt x="2325" y="269"/>
                  <a:pt x="2325" y="287"/>
                </a:cubicBezTo>
                <a:cubicBezTo>
                  <a:pt x="2309" y="279"/>
                  <a:pt x="2263" y="246"/>
                  <a:pt x="2203" y="246"/>
                </a:cubicBezTo>
                <a:cubicBezTo>
                  <a:pt x="2064" y="246"/>
                  <a:pt x="2001" y="359"/>
                  <a:pt x="2001" y="512"/>
                </a:cubicBezTo>
                <a:cubicBezTo>
                  <a:pt x="2001" y="610"/>
                  <a:pt x="2033" y="774"/>
                  <a:pt x="2179" y="774"/>
                </a:cubicBezTo>
                <a:cubicBezTo>
                  <a:pt x="2253" y="774"/>
                  <a:pt x="2309" y="713"/>
                  <a:pt x="2318" y="701"/>
                </a:cubicBezTo>
                <a:cubicBezTo>
                  <a:pt x="2318" y="701"/>
                  <a:pt x="2315" y="733"/>
                  <a:pt x="2315" y="748"/>
                </a:cubicBezTo>
                <a:lnTo>
                  <a:pt x="2315" y="781"/>
                </a:lnTo>
                <a:cubicBezTo>
                  <a:pt x="2315" y="792"/>
                  <a:pt x="2315" y="809"/>
                  <a:pt x="2312" y="820"/>
                </a:cubicBezTo>
                <a:cubicBezTo>
                  <a:pt x="2304" y="850"/>
                  <a:pt x="2276" y="867"/>
                  <a:pt x="2220" y="867"/>
                </a:cubicBezTo>
                <a:cubicBezTo>
                  <a:pt x="2116" y="867"/>
                  <a:pt x="2029" y="828"/>
                  <a:pt x="2029" y="828"/>
                </a:cubicBezTo>
                <a:lnTo>
                  <a:pt x="2028" y="951"/>
                </a:lnTo>
                <a:cubicBezTo>
                  <a:pt x="2028" y="951"/>
                  <a:pt x="2102" y="991"/>
                  <a:pt x="2220" y="991"/>
                </a:cubicBezTo>
                <a:cubicBezTo>
                  <a:pt x="2343" y="991"/>
                  <a:pt x="2424" y="940"/>
                  <a:pt x="2447" y="845"/>
                </a:cubicBezTo>
                <a:cubicBezTo>
                  <a:pt x="2448" y="825"/>
                  <a:pt x="2452" y="787"/>
                  <a:pt x="2452" y="762"/>
                </a:cubicBezTo>
                <a:lnTo>
                  <a:pt x="2452" y="384"/>
                </a:lnTo>
                <a:cubicBezTo>
                  <a:pt x="2452" y="323"/>
                  <a:pt x="2458" y="255"/>
                  <a:pt x="2458" y="255"/>
                </a:cubicBezTo>
                <a:moveTo>
                  <a:pt x="2315" y="599"/>
                </a:moveTo>
                <a:cubicBezTo>
                  <a:pt x="2276" y="646"/>
                  <a:pt x="2238" y="656"/>
                  <a:pt x="2213" y="656"/>
                </a:cubicBezTo>
                <a:cubicBezTo>
                  <a:pt x="2151" y="656"/>
                  <a:pt x="2139" y="559"/>
                  <a:pt x="2139" y="512"/>
                </a:cubicBezTo>
                <a:cubicBezTo>
                  <a:pt x="2139" y="451"/>
                  <a:pt x="2144" y="359"/>
                  <a:pt x="2223" y="359"/>
                </a:cubicBezTo>
                <a:cubicBezTo>
                  <a:pt x="2251" y="359"/>
                  <a:pt x="2279" y="367"/>
                  <a:pt x="2315" y="386"/>
                </a:cubicBezTo>
                <a:lnTo>
                  <a:pt x="2315" y="599"/>
                </a:lnTo>
                <a:close/>
                <a:moveTo>
                  <a:pt x="2728" y="83"/>
                </a:moveTo>
                <a:cubicBezTo>
                  <a:pt x="2728" y="41"/>
                  <a:pt x="2698" y="0"/>
                  <a:pt x="2647" y="0"/>
                </a:cubicBezTo>
                <a:cubicBezTo>
                  <a:pt x="2594" y="0"/>
                  <a:pt x="2567" y="37"/>
                  <a:pt x="2567" y="83"/>
                </a:cubicBezTo>
                <a:cubicBezTo>
                  <a:pt x="2567" y="121"/>
                  <a:pt x="2594" y="163"/>
                  <a:pt x="2647" y="163"/>
                </a:cubicBezTo>
                <a:cubicBezTo>
                  <a:pt x="2698" y="163"/>
                  <a:pt x="2728" y="121"/>
                  <a:pt x="2728" y="83"/>
                </a:cubicBezTo>
                <a:moveTo>
                  <a:pt x="2713" y="770"/>
                </a:moveTo>
                <a:lnTo>
                  <a:pt x="2713" y="367"/>
                </a:lnTo>
                <a:cubicBezTo>
                  <a:pt x="2713" y="323"/>
                  <a:pt x="2703" y="255"/>
                  <a:pt x="2703" y="255"/>
                </a:cubicBezTo>
                <a:lnTo>
                  <a:pt x="2580" y="255"/>
                </a:lnTo>
                <a:lnTo>
                  <a:pt x="2580" y="770"/>
                </a:lnTo>
                <a:lnTo>
                  <a:pt x="2713" y="770"/>
                </a:lnTo>
                <a:close/>
                <a:moveTo>
                  <a:pt x="3257" y="502"/>
                </a:moveTo>
                <a:cubicBezTo>
                  <a:pt x="3257" y="381"/>
                  <a:pt x="3212" y="246"/>
                  <a:pt x="3045" y="246"/>
                </a:cubicBezTo>
                <a:cubicBezTo>
                  <a:pt x="2895" y="246"/>
                  <a:pt x="2828" y="377"/>
                  <a:pt x="2828" y="515"/>
                </a:cubicBezTo>
                <a:cubicBezTo>
                  <a:pt x="2828" y="610"/>
                  <a:pt x="2856" y="784"/>
                  <a:pt x="3035" y="784"/>
                </a:cubicBezTo>
                <a:cubicBezTo>
                  <a:pt x="3170" y="784"/>
                  <a:pt x="3250" y="730"/>
                  <a:pt x="3250" y="730"/>
                </a:cubicBezTo>
                <a:lnTo>
                  <a:pt x="3247" y="624"/>
                </a:lnTo>
                <a:cubicBezTo>
                  <a:pt x="3247" y="624"/>
                  <a:pt x="3150" y="675"/>
                  <a:pt x="3058" y="675"/>
                </a:cubicBezTo>
                <a:cubicBezTo>
                  <a:pt x="2999" y="675"/>
                  <a:pt x="2967" y="636"/>
                  <a:pt x="2967" y="544"/>
                </a:cubicBezTo>
                <a:lnTo>
                  <a:pt x="3257" y="544"/>
                </a:lnTo>
                <a:cubicBezTo>
                  <a:pt x="3257" y="544"/>
                  <a:pt x="3257" y="512"/>
                  <a:pt x="3257" y="502"/>
                </a:cubicBezTo>
                <a:moveTo>
                  <a:pt x="3122" y="464"/>
                </a:moveTo>
                <a:lnTo>
                  <a:pt x="2971" y="464"/>
                </a:lnTo>
                <a:cubicBezTo>
                  <a:pt x="2971" y="422"/>
                  <a:pt x="2979" y="345"/>
                  <a:pt x="3045" y="345"/>
                </a:cubicBezTo>
                <a:cubicBezTo>
                  <a:pt x="3114" y="345"/>
                  <a:pt x="3122" y="418"/>
                  <a:pt x="3122" y="464"/>
                </a:cubicBezTo>
                <a:moveTo>
                  <a:pt x="3526" y="704"/>
                </a:moveTo>
                <a:cubicBezTo>
                  <a:pt x="3526" y="668"/>
                  <a:pt x="3498" y="627"/>
                  <a:pt x="3446" y="627"/>
                </a:cubicBezTo>
                <a:cubicBezTo>
                  <a:pt x="3393" y="627"/>
                  <a:pt x="3362" y="665"/>
                  <a:pt x="3362" y="704"/>
                </a:cubicBezTo>
                <a:cubicBezTo>
                  <a:pt x="3362" y="745"/>
                  <a:pt x="3393" y="784"/>
                  <a:pt x="3446" y="784"/>
                </a:cubicBezTo>
                <a:cubicBezTo>
                  <a:pt x="3498" y="784"/>
                  <a:pt x="3526" y="741"/>
                  <a:pt x="3526" y="704"/>
                </a:cubicBezTo>
                <a:moveTo>
                  <a:pt x="4599" y="87"/>
                </a:moveTo>
                <a:lnTo>
                  <a:pt x="4459" y="76"/>
                </a:lnTo>
                <a:lnTo>
                  <a:pt x="4379" y="413"/>
                </a:lnTo>
                <a:cubicBezTo>
                  <a:pt x="4367" y="464"/>
                  <a:pt x="4351" y="563"/>
                  <a:pt x="4348" y="582"/>
                </a:cubicBezTo>
                <a:cubicBezTo>
                  <a:pt x="4346" y="563"/>
                  <a:pt x="4326" y="464"/>
                  <a:pt x="4318" y="413"/>
                </a:cubicBezTo>
                <a:lnTo>
                  <a:pt x="4243" y="76"/>
                </a:lnTo>
                <a:lnTo>
                  <a:pt x="4096" y="76"/>
                </a:lnTo>
                <a:lnTo>
                  <a:pt x="4022" y="413"/>
                </a:lnTo>
                <a:cubicBezTo>
                  <a:pt x="4011" y="464"/>
                  <a:pt x="3998" y="559"/>
                  <a:pt x="3994" y="578"/>
                </a:cubicBezTo>
                <a:cubicBezTo>
                  <a:pt x="3988" y="556"/>
                  <a:pt x="3973" y="464"/>
                  <a:pt x="3963" y="413"/>
                </a:cubicBezTo>
                <a:lnTo>
                  <a:pt x="3886" y="70"/>
                </a:lnTo>
                <a:lnTo>
                  <a:pt x="3740" y="76"/>
                </a:lnTo>
                <a:lnTo>
                  <a:pt x="3917" y="770"/>
                </a:lnTo>
                <a:lnTo>
                  <a:pt x="4063" y="770"/>
                </a:lnTo>
                <a:lnTo>
                  <a:pt x="4134" y="451"/>
                </a:lnTo>
                <a:cubicBezTo>
                  <a:pt x="4144" y="403"/>
                  <a:pt x="4169" y="272"/>
                  <a:pt x="4169" y="272"/>
                </a:cubicBezTo>
                <a:cubicBezTo>
                  <a:pt x="4169" y="272"/>
                  <a:pt x="4190" y="400"/>
                  <a:pt x="4203" y="451"/>
                </a:cubicBezTo>
                <a:lnTo>
                  <a:pt x="4267" y="770"/>
                </a:lnTo>
                <a:lnTo>
                  <a:pt x="4420" y="770"/>
                </a:lnTo>
                <a:lnTo>
                  <a:pt x="4599" y="87"/>
                </a:lnTo>
                <a:close/>
                <a:moveTo>
                  <a:pt x="5062" y="770"/>
                </a:moveTo>
                <a:cubicBezTo>
                  <a:pt x="5062" y="770"/>
                  <a:pt x="5056" y="723"/>
                  <a:pt x="5056" y="665"/>
                </a:cubicBezTo>
                <a:lnTo>
                  <a:pt x="5056" y="418"/>
                </a:lnTo>
                <a:cubicBezTo>
                  <a:pt x="5056" y="367"/>
                  <a:pt x="5049" y="326"/>
                  <a:pt x="5025" y="294"/>
                </a:cubicBezTo>
                <a:cubicBezTo>
                  <a:pt x="5000" y="265"/>
                  <a:pt x="4957" y="246"/>
                  <a:pt x="4895" y="246"/>
                </a:cubicBezTo>
                <a:cubicBezTo>
                  <a:pt x="4790" y="246"/>
                  <a:pt x="4686" y="291"/>
                  <a:pt x="4686" y="291"/>
                </a:cubicBezTo>
                <a:lnTo>
                  <a:pt x="4696" y="400"/>
                </a:lnTo>
                <a:cubicBezTo>
                  <a:pt x="4731" y="381"/>
                  <a:pt x="4798" y="352"/>
                  <a:pt x="4867" y="352"/>
                </a:cubicBezTo>
                <a:cubicBezTo>
                  <a:pt x="4906" y="352"/>
                  <a:pt x="4920" y="377"/>
                  <a:pt x="4920" y="415"/>
                </a:cubicBezTo>
                <a:lnTo>
                  <a:pt x="4920" y="468"/>
                </a:lnTo>
                <a:cubicBezTo>
                  <a:pt x="4857" y="468"/>
                  <a:pt x="4758" y="476"/>
                  <a:pt x="4703" y="522"/>
                </a:cubicBezTo>
                <a:cubicBezTo>
                  <a:pt x="4671" y="548"/>
                  <a:pt x="4653" y="578"/>
                  <a:pt x="4653" y="624"/>
                </a:cubicBezTo>
                <a:cubicBezTo>
                  <a:pt x="4653" y="690"/>
                  <a:pt x="4686" y="784"/>
                  <a:pt x="4795" y="784"/>
                </a:cubicBezTo>
                <a:cubicBezTo>
                  <a:pt x="4867" y="784"/>
                  <a:pt x="4929" y="723"/>
                  <a:pt x="4929" y="723"/>
                </a:cubicBezTo>
                <a:cubicBezTo>
                  <a:pt x="4929" y="741"/>
                  <a:pt x="4934" y="770"/>
                  <a:pt x="4934" y="770"/>
                </a:cubicBezTo>
                <a:lnTo>
                  <a:pt x="5062" y="770"/>
                </a:lnTo>
                <a:close/>
                <a:moveTo>
                  <a:pt x="4920" y="639"/>
                </a:moveTo>
                <a:cubicBezTo>
                  <a:pt x="4906" y="653"/>
                  <a:pt x="4870" y="678"/>
                  <a:pt x="4832" y="678"/>
                </a:cubicBezTo>
                <a:cubicBezTo>
                  <a:pt x="4798" y="678"/>
                  <a:pt x="4786" y="643"/>
                  <a:pt x="4786" y="617"/>
                </a:cubicBezTo>
                <a:cubicBezTo>
                  <a:pt x="4786" y="602"/>
                  <a:pt x="4793" y="588"/>
                  <a:pt x="4804" y="576"/>
                </a:cubicBezTo>
                <a:cubicBezTo>
                  <a:pt x="4836" y="548"/>
                  <a:pt x="4901" y="544"/>
                  <a:pt x="4920" y="544"/>
                </a:cubicBezTo>
                <a:lnTo>
                  <a:pt x="4920" y="639"/>
                </a:lnTo>
                <a:close/>
                <a:moveTo>
                  <a:pt x="5534" y="617"/>
                </a:moveTo>
                <a:cubicBezTo>
                  <a:pt x="5534" y="495"/>
                  <a:pt x="5422" y="473"/>
                  <a:pt x="5339" y="435"/>
                </a:cubicBezTo>
                <a:cubicBezTo>
                  <a:pt x="5320" y="425"/>
                  <a:pt x="5301" y="415"/>
                  <a:pt x="5301" y="396"/>
                </a:cubicBezTo>
                <a:cubicBezTo>
                  <a:pt x="5301" y="377"/>
                  <a:pt x="5314" y="355"/>
                  <a:pt x="5352" y="355"/>
                </a:cubicBezTo>
                <a:cubicBezTo>
                  <a:pt x="5416" y="355"/>
                  <a:pt x="5500" y="389"/>
                  <a:pt x="5500" y="389"/>
                </a:cubicBezTo>
                <a:lnTo>
                  <a:pt x="5506" y="275"/>
                </a:lnTo>
                <a:cubicBezTo>
                  <a:pt x="5506" y="275"/>
                  <a:pt x="5437" y="246"/>
                  <a:pt x="5357" y="246"/>
                </a:cubicBezTo>
                <a:cubicBezTo>
                  <a:pt x="5265" y="246"/>
                  <a:pt x="5174" y="301"/>
                  <a:pt x="5174" y="410"/>
                </a:cubicBezTo>
                <a:cubicBezTo>
                  <a:pt x="5174" y="522"/>
                  <a:pt x="5286" y="544"/>
                  <a:pt x="5363" y="578"/>
                </a:cubicBezTo>
                <a:cubicBezTo>
                  <a:pt x="5385" y="592"/>
                  <a:pt x="5404" y="602"/>
                  <a:pt x="5404" y="624"/>
                </a:cubicBezTo>
                <a:cubicBezTo>
                  <a:pt x="5404" y="653"/>
                  <a:pt x="5381" y="672"/>
                  <a:pt x="5352" y="672"/>
                </a:cubicBezTo>
                <a:cubicBezTo>
                  <a:pt x="5276" y="672"/>
                  <a:pt x="5174" y="621"/>
                  <a:pt x="5174" y="621"/>
                </a:cubicBezTo>
                <a:lnTo>
                  <a:pt x="5168" y="745"/>
                </a:lnTo>
                <a:cubicBezTo>
                  <a:pt x="5168" y="745"/>
                  <a:pt x="5255" y="784"/>
                  <a:pt x="5348" y="784"/>
                </a:cubicBezTo>
                <a:cubicBezTo>
                  <a:pt x="5444" y="784"/>
                  <a:pt x="5534" y="733"/>
                  <a:pt x="5534" y="617"/>
                </a:cubicBezTo>
                <a:moveTo>
                  <a:pt x="5988" y="617"/>
                </a:moveTo>
                <a:cubicBezTo>
                  <a:pt x="5988" y="495"/>
                  <a:pt x="5876" y="473"/>
                  <a:pt x="5792" y="435"/>
                </a:cubicBezTo>
                <a:cubicBezTo>
                  <a:pt x="5772" y="425"/>
                  <a:pt x="5754" y="415"/>
                  <a:pt x="5754" y="396"/>
                </a:cubicBezTo>
                <a:cubicBezTo>
                  <a:pt x="5754" y="377"/>
                  <a:pt x="5767" y="355"/>
                  <a:pt x="5804" y="355"/>
                </a:cubicBezTo>
                <a:cubicBezTo>
                  <a:pt x="5869" y="355"/>
                  <a:pt x="5950" y="389"/>
                  <a:pt x="5950" y="389"/>
                </a:cubicBezTo>
                <a:lnTo>
                  <a:pt x="5960" y="275"/>
                </a:lnTo>
                <a:cubicBezTo>
                  <a:pt x="5960" y="275"/>
                  <a:pt x="5891" y="246"/>
                  <a:pt x="5810" y="246"/>
                </a:cubicBezTo>
                <a:cubicBezTo>
                  <a:pt x="5715" y="246"/>
                  <a:pt x="5624" y="301"/>
                  <a:pt x="5624" y="410"/>
                </a:cubicBezTo>
                <a:cubicBezTo>
                  <a:pt x="5624" y="522"/>
                  <a:pt x="5739" y="544"/>
                  <a:pt x="5813" y="578"/>
                </a:cubicBezTo>
                <a:cubicBezTo>
                  <a:pt x="5838" y="592"/>
                  <a:pt x="5856" y="602"/>
                  <a:pt x="5856" y="624"/>
                </a:cubicBezTo>
                <a:cubicBezTo>
                  <a:pt x="5856" y="653"/>
                  <a:pt x="5835" y="672"/>
                  <a:pt x="5800" y="672"/>
                </a:cubicBezTo>
                <a:cubicBezTo>
                  <a:pt x="5726" y="672"/>
                  <a:pt x="5628" y="621"/>
                  <a:pt x="5628" y="621"/>
                </a:cubicBezTo>
                <a:lnTo>
                  <a:pt x="5621" y="745"/>
                </a:lnTo>
                <a:cubicBezTo>
                  <a:pt x="5621" y="745"/>
                  <a:pt x="5708" y="784"/>
                  <a:pt x="5799" y="784"/>
                </a:cubicBezTo>
                <a:cubicBezTo>
                  <a:pt x="5897" y="784"/>
                  <a:pt x="5988" y="733"/>
                  <a:pt x="5988" y="617"/>
                </a:cubicBezTo>
                <a:moveTo>
                  <a:pt x="6502" y="502"/>
                </a:moveTo>
                <a:cubicBezTo>
                  <a:pt x="6502" y="381"/>
                  <a:pt x="6459" y="246"/>
                  <a:pt x="6288" y="246"/>
                </a:cubicBezTo>
                <a:cubicBezTo>
                  <a:pt x="6139" y="246"/>
                  <a:pt x="6071" y="377"/>
                  <a:pt x="6071" y="515"/>
                </a:cubicBezTo>
                <a:cubicBezTo>
                  <a:pt x="6071" y="610"/>
                  <a:pt x="6103" y="784"/>
                  <a:pt x="6278" y="784"/>
                </a:cubicBezTo>
                <a:cubicBezTo>
                  <a:pt x="6415" y="784"/>
                  <a:pt x="6494" y="730"/>
                  <a:pt x="6494" y="730"/>
                </a:cubicBezTo>
                <a:lnTo>
                  <a:pt x="6490" y="624"/>
                </a:lnTo>
                <a:cubicBezTo>
                  <a:pt x="6490" y="624"/>
                  <a:pt x="6393" y="675"/>
                  <a:pt x="6301" y="675"/>
                </a:cubicBezTo>
                <a:cubicBezTo>
                  <a:pt x="6242" y="675"/>
                  <a:pt x="6214" y="636"/>
                  <a:pt x="6214" y="544"/>
                </a:cubicBezTo>
                <a:lnTo>
                  <a:pt x="6502" y="544"/>
                </a:lnTo>
                <a:cubicBezTo>
                  <a:pt x="6502" y="544"/>
                  <a:pt x="6502" y="512"/>
                  <a:pt x="6502" y="502"/>
                </a:cubicBezTo>
                <a:moveTo>
                  <a:pt x="6369" y="464"/>
                </a:moveTo>
                <a:lnTo>
                  <a:pt x="6214" y="464"/>
                </a:lnTo>
                <a:cubicBezTo>
                  <a:pt x="6214" y="422"/>
                  <a:pt x="6226" y="345"/>
                  <a:pt x="6288" y="345"/>
                </a:cubicBezTo>
                <a:cubicBezTo>
                  <a:pt x="6359" y="345"/>
                  <a:pt x="6369" y="418"/>
                  <a:pt x="6369" y="464"/>
                </a:cubicBezTo>
                <a:moveTo>
                  <a:pt x="6918" y="258"/>
                </a:moveTo>
                <a:cubicBezTo>
                  <a:pt x="6918" y="258"/>
                  <a:pt x="6909" y="250"/>
                  <a:pt x="6860" y="250"/>
                </a:cubicBezTo>
                <a:cubicBezTo>
                  <a:pt x="6819" y="250"/>
                  <a:pt x="6781" y="287"/>
                  <a:pt x="6760" y="309"/>
                </a:cubicBezTo>
                <a:cubicBezTo>
                  <a:pt x="6757" y="313"/>
                  <a:pt x="6753" y="316"/>
                  <a:pt x="6753" y="316"/>
                </a:cubicBezTo>
                <a:cubicBezTo>
                  <a:pt x="6753" y="294"/>
                  <a:pt x="6748" y="255"/>
                  <a:pt x="6748" y="255"/>
                </a:cubicBezTo>
                <a:lnTo>
                  <a:pt x="6617" y="255"/>
                </a:lnTo>
                <a:cubicBezTo>
                  <a:pt x="6617" y="255"/>
                  <a:pt x="6623" y="320"/>
                  <a:pt x="6623" y="384"/>
                </a:cubicBezTo>
                <a:lnTo>
                  <a:pt x="6623" y="770"/>
                </a:lnTo>
                <a:lnTo>
                  <a:pt x="6757" y="770"/>
                </a:lnTo>
                <a:lnTo>
                  <a:pt x="6757" y="410"/>
                </a:lnTo>
                <a:cubicBezTo>
                  <a:pt x="6791" y="377"/>
                  <a:pt x="6822" y="360"/>
                  <a:pt x="6837" y="360"/>
                </a:cubicBezTo>
                <a:cubicBezTo>
                  <a:pt x="6875" y="360"/>
                  <a:pt x="6906" y="367"/>
                  <a:pt x="6906" y="367"/>
                </a:cubicBezTo>
                <a:lnTo>
                  <a:pt x="6918" y="258"/>
                </a:lnTo>
                <a:close/>
                <a:moveTo>
                  <a:pt x="7046" y="704"/>
                </a:moveTo>
                <a:cubicBezTo>
                  <a:pt x="7046" y="668"/>
                  <a:pt x="7021" y="627"/>
                  <a:pt x="6969" y="627"/>
                </a:cubicBezTo>
                <a:cubicBezTo>
                  <a:pt x="6913" y="627"/>
                  <a:pt x="6885" y="665"/>
                  <a:pt x="6885" y="704"/>
                </a:cubicBezTo>
                <a:cubicBezTo>
                  <a:pt x="6885" y="745"/>
                  <a:pt x="6913" y="784"/>
                  <a:pt x="6969" y="784"/>
                </a:cubicBezTo>
                <a:cubicBezTo>
                  <a:pt x="7021" y="784"/>
                  <a:pt x="7046" y="741"/>
                  <a:pt x="7046" y="704"/>
                </a:cubicBezTo>
                <a:moveTo>
                  <a:pt x="7803" y="770"/>
                </a:moveTo>
                <a:lnTo>
                  <a:pt x="7803" y="643"/>
                </a:lnTo>
                <a:lnTo>
                  <a:pt x="7517" y="643"/>
                </a:lnTo>
                <a:lnTo>
                  <a:pt x="7517" y="76"/>
                </a:lnTo>
                <a:lnTo>
                  <a:pt x="7381" y="76"/>
                </a:lnTo>
                <a:lnTo>
                  <a:pt x="7381" y="770"/>
                </a:lnTo>
                <a:lnTo>
                  <a:pt x="7803" y="770"/>
                </a:lnTo>
                <a:close/>
                <a:moveTo>
                  <a:pt x="8309" y="502"/>
                </a:moveTo>
                <a:cubicBezTo>
                  <a:pt x="8309" y="381"/>
                  <a:pt x="8262" y="246"/>
                  <a:pt x="8094" y="246"/>
                </a:cubicBezTo>
                <a:cubicBezTo>
                  <a:pt x="7946" y="246"/>
                  <a:pt x="7877" y="377"/>
                  <a:pt x="7877" y="515"/>
                </a:cubicBezTo>
                <a:cubicBezTo>
                  <a:pt x="7877" y="610"/>
                  <a:pt x="7905" y="784"/>
                  <a:pt x="8086" y="784"/>
                </a:cubicBezTo>
                <a:cubicBezTo>
                  <a:pt x="8219" y="784"/>
                  <a:pt x="8299" y="730"/>
                  <a:pt x="8299" y="730"/>
                </a:cubicBezTo>
                <a:lnTo>
                  <a:pt x="8296" y="624"/>
                </a:lnTo>
                <a:cubicBezTo>
                  <a:pt x="8296" y="624"/>
                  <a:pt x="8201" y="675"/>
                  <a:pt x="8107" y="675"/>
                </a:cubicBezTo>
                <a:cubicBezTo>
                  <a:pt x="8048" y="675"/>
                  <a:pt x="8017" y="636"/>
                  <a:pt x="8017" y="544"/>
                </a:cubicBezTo>
                <a:lnTo>
                  <a:pt x="8306" y="544"/>
                </a:lnTo>
                <a:cubicBezTo>
                  <a:pt x="8306" y="544"/>
                  <a:pt x="8309" y="512"/>
                  <a:pt x="8309" y="502"/>
                </a:cubicBezTo>
                <a:moveTo>
                  <a:pt x="8175" y="464"/>
                </a:moveTo>
                <a:lnTo>
                  <a:pt x="8020" y="464"/>
                </a:lnTo>
                <a:cubicBezTo>
                  <a:pt x="8020" y="422"/>
                  <a:pt x="8033" y="345"/>
                  <a:pt x="8094" y="345"/>
                </a:cubicBezTo>
                <a:cubicBezTo>
                  <a:pt x="8163" y="345"/>
                  <a:pt x="8175" y="418"/>
                  <a:pt x="8175" y="464"/>
                </a:cubicBezTo>
                <a:moveTo>
                  <a:pt x="8883" y="512"/>
                </a:moveTo>
                <a:cubicBezTo>
                  <a:pt x="8883" y="406"/>
                  <a:pt x="8858" y="246"/>
                  <a:pt x="8697" y="246"/>
                </a:cubicBezTo>
                <a:cubicBezTo>
                  <a:pt x="8638" y="246"/>
                  <a:pt x="8575" y="291"/>
                  <a:pt x="8564" y="301"/>
                </a:cubicBezTo>
                <a:cubicBezTo>
                  <a:pt x="8564" y="301"/>
                  <a:pt x="8566" y="265"/>
                  <a:pt x="8566" y="246"/>
                </a:cubicBezTo>
                <a:lnTo>
                  <a:pt x="8566" y="15"/>
                </a:lnTo>
                <a:lnTo>
                  <a:pt x="8429" y="32"/>
                </a:lnTo>
                <a:lnTo>
                  <a:pt x="8429" y="661"/>
                </a:lnTo>
                <a:cubicBezTo>
                  <a:pt x="8429" y="713"/>
                  <a:pt x="8424" y="770"/>
                  <a:pt x="8424" y="770"/>
                </a:cubicBezTo>
                <a:lnTo>
                  <a:pt x="8554" y="770"/>
                </a:lnTo>
                <a:cubicBezTo>
                  <a:pt x="8557" y="758"/>
                  <a:pt x="8557" y="738"/>
                  <a:pt x="8557" y="733"/>
                </a:cubicBezTo>
                <a:cubicBezTo>
                  <a:pt x="8566" y="738"/>
                  <a:pt x="8625" y="784"/>
                  <a:pt x="8694" y="784"/>
                </a:cubicBezTo>
                <a:cubicBezTo>
                  <a:pt x="8815" y="784"/>
                  <a:pt x="8883" y="665"/>
                  <a:pt x="8883" y="512"/>
                </a:cubicBezTo>
                <a:moveTo>
                  <a:pt x="8746" y="512"/>
                </a:moveTo>
                <a:cubicBezTo>
                  <a:pt x="8746" y="631"/>
                  <a:pt x="8705" y="668"/>
                  <a:pt x="8666" y="668"/>
                </a:cubicBezTo>
                <a:cubicBezTo>
                  <a:pt x="8641" y="668"/>
                  <a:pt x="8603" y="661"/>
                  <a:pt x="8566" y="639"/>
                </a:cubicBezTo>
                <a:lnTo>
                  <a:pt x="8566" y="396"/>
                </a:lnTo>
                <a:cubicBezTo>
                  <a:pt x="8607" y="367"/>
                  <a:pt x="8641" y="359"/>
                  <a:pt x="8669" y="359"/>
                </a:cubicBezTo>
                <a:cubicBezTo>
                  <a:pt x="8737" y="359"/>
                  <a:pt x="8746" y="454"/>
                  <a:pt x="8746" y="512"/>
                </a:cubicBezTo>
                <a:moveTo>
                  <a:pt x="9410" y="502"/>
                </a:moveTo>
                <a:cubicBezTo>
                  <a:pt x="9410" y="381"/>
                  <a:pt x="9367" y="246"/>
                  <a:pt x="9200" y="246"/>
                </a:cubicBezTo>
                <a:cubicBezTo>
                  <a:pt x="9050" y="246"/>
                  <a:pt x="8983" y="377"/>
                  <a:pt x="8983" y="515"/>
                </a:cubicBezTo>
                <a:cubicBezTo>
                  <a:pt x="8983" y="610"/>
                  <a:pt x="9011" y="784"/>
                  <a:pt x="9190" y="784"/>
                </a:cubicBezTo>
                <a:cubicBezTo>
                  <a:pt x="9323" y="784"/>
                  <a:pt x="9404" y="730"/>
                  <a:pt x="9404" y="730"/>
                </a:cubicBezTo>
                <a:lnTo>
                  <a:pt x="9399" y="624"/>
                </a:lnTo>
                <a:cubicBezTo>
                  <a:pt x="9399" y="624"/>
                  <a:pt x="9302" y="675"/>
                  <a:pt x="9211" y="675"/>
                </a:cubicBezTo>
                <a:cubicBezTo>
                  <a:pt x="9152" y="675"/>
                  <a:pt x="9123" y="636"/>
                  <a:pt x="9123" y="544"/>
                </a:cubicBezTo>
                <a:lnTo>
                  <a:pt x="9410" y="544"/>
                </a:lnTo>
                <a:cubicBezTo>
                  <a:pt x="9410" y="544"/>
                  <a:pt x="9410" y="512"/>
                  <a:pt x="9410" y="502"/>
                </a:cubicBezTo>
                <a:moveTo>
                  <a:pt x="9277" y="464"/>
                </a:moveTo>
                <a:lnTo>
                  <a:pt x="9123" y="464"/>
                </a:lnTo>
                <a:cubicBezTo>
                  <a:pt x="9123" y="422"/>
                  <a:pt x="9134" y="345"/>
                  <a:pt x="9200" y="345"/>
                </a:cubicBezTo>
                <a:cubicBezTo>
                  <a:pt x="9267" y="345"/>
                  <a:pt x="9277" y="418"/>
                  <a:pt x="9277" y="464"/>
                </a:cubicBezTo>
                <a:moveTo>
                  <a:pt x="9969" y="770"/>
                </a:moveTo>
                <a:lnTo>
                  <a:pt x="9969" y="418"/>
                </a:lnTo>
                <a:cubicBezTo>
                  <a:pt x="9969" y="371"/>
                  <a:pt x="9961" y="333"/>
                  <a:pt x="9941" y="304"/>
                </a:cubicBezTo>
                <a:cubicBezTo>
                  <a:pt x="9920" y="269"/>
                  <a:pt x="9879" y="246"/>
                  <a:pt x="9821" y="246"/>
                </a:cubicBezTo>
                <a:cubicBezTo>
                  <a:pt x="9752" y="246"/>
                  <a:pt x="9678" y="306"/>
                  <a:pt x="9662" y="326"/>
                </a:cubicBezTo>
                <a:cubicBezTo>
                  <a:pt x="9662" y="294"/>
                  <a:pt x="9655" y="255"/>
                  <a:pt x="9655" y="255"/>
                </a:cubicBezTo>
                <a:lnTo>
                  <a:pt x="9525" y="255"/>
                </a:lnTo>
                <a:cubicBezTo>
                  <a:pt x="9525" y="255"/>
                  <a:pt x="9532" y="320"/>
                  <a:pt x="9532" y="384"/>
                </a:cubicBezTo>
                <a:lnTo>
                  <a:pt x="9532" y="770"/>
                </a:lnTo>
                <a:lnTo>
                  <a:pt x="9668" y="770"/>
                </a:lnTo>
                <a:lnTo>
                  <a:pt x="9668" y="422"/>
                </a:lnTo>
                <a:cubicBezTo>
                  <a:pt x="9686" y="403"/>
                  <a:pt x="9731" y="367"/>
                  <a:pt x="9773" y="367"/>
                </a:cubicBezTo>
                <a:cubicBezTo>
                  <a:pt x="9808" y="367"/>
                  <a:pt x="9832" y="374"/>
                  <a:pt x="9832" y="432"/>
                </a:cubicBezTo>
                <a:lnTo>
                  <a:pt x="9832" y="770"/>
                </a:lnTo>
                <a:lnTo>
                  <a:pt x="9969" y="770"/>
                </a:lnTo>
                <a:close/>
                <a:moveTo>
                  <a:pt x="10242" y="704"/>
                </a:moveTo>
                <a:cubicBezTo>
                  <a:pt x="10242" y="668"/>
                  <a:pt x="10217" y="627"/>
                  <a:pt x="10161" y="627"/>
                </a:cubicBezTo>
                <a:cubicBezTo>
                  <a:pt x="10109" y="627"/>
                  <a:pt x="10081" y="665"/>
                  <a:pt x="10081" y="704"/>
                </a:cubicBezTo>
                <a:cubicBezTo>
                  <a:pt x="10081" y="745"/>
                  <a:pt x="10109" y="784"/>
                  <a:pt x="10161" y="784"/>
                </a:cubicBezTo>
                <a:cubicBezTo>
                  <a:pt x="10217" y="784"/>
                  <a:pt x="10242" y="741"/>
                  <a:pt x="10242" y="704"/>
                </a:cubicBezTo>
              </a:path>
            </a:pathLst>
          </a:custGeom>
          <a:solidFill>
            <a:srgbClr val="74757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22" name="Footer Placeholder 2"/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2699792" y="6924389"/>
            <a:ext cx="3744416" cy="1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utor der Präsentation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" name="Footer Placeholder 2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2699792" y="6924389"/>
            <a:ext cx="3744416" cy="1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utor der Präsentation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9" name="Footer Placeholder 2"/>
          <p:cNvSpPr txBox="1">
            <a:spLocks/>
          </p:cNvSpPr>
          <p:nvPr userDrawn="1">
            <p:custDataLst>
              <p:tags r:id="rId17"/>
            </p:custDataLst>
          </p:nvPr>
        </p:nvSpPr>
        <p:spPr bwMode="auto">
          <a:xfrm>
            <a:off x="2699792" y="6924389"/>
            <a:ext cx="3744416" cy="1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utor der Präsentation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Was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3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0" y="0"/>
            <a:ext cx="9144000" cy="6858000"/>
            <a:chOff x="0" y="0"/>
            <a:chExt cx="5760" cy="4320"/>
          </a:xfrm>
        </p:grpSpPr>
        <p:sp>
          <p:nvSpPr>
            <p:cNvPr id="7" name="Rectangle 2"/>
            <p:cNvSpPr>
              <a:spLocks noChangeArrowheads="1"/>
            </p:cNvSpPr>
            <p:nvPr/>
          </p:nvSpPr>
          <p:spPr bwMode="hidden">
            <a:xfrm>
              <a:off x="0" y="0"/>
              <a:ext cx="5760" cy="4320"/>
            </a:xfrm>
            <a:prstGeom prst="rect">
              <a:avLst/>
            </a:prstGeom>
            <a:solidFill>
              <a:srgbClr val="F4F4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8" name="Rectangle 3"/>
            <p:cNvSpPr>
              <a:spLocks noChangeArrowheads="1"/>
            </p:cNvSpPr>
            <p:nvPr/>
          </p:nvSpPr>
          <p:spPr bwMode="gray">
            <a:xfrm>
              <a:off x="0" y="2296"/>
              <a:ext cx="5760" cy="1224"/>
            </a:xfrm>
            <a:prstGeom prst="rect">
              <a:avLst/>
            </a:prstGeom>
            <a:solidFill>
              <a:srgbClr val="0068A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 sz="3000">
                <a:solidFill>
                  <a:srgbClr val="F82B26"/>
                </a:solidFill>
              </a:endParaRPr>
            </a:p>
          </p:txBody>
        </p:sp>
        <p:sp>
          <p:nvSpPr>
            <p:cNvPr id="9" name="Rectangle 4"/>
            <p:cNvSpPr>
              <a:spLocks noChangeArrowheads="1"/>
            </p:cNvSpPr>
            <p:nvPr/>
          </p:nvSpPr>
          <p:spPr bwMode="gray">
            <a:xfrm>
              <a:off x="0" y="3566"/>
              <a:ext cx="5760" cy="754"/>
            </a:xfrm>
            <a:prstGeom prst="rect">
              <a:avLst/>
            </a:prstGeom>
            <a:solidFill>
              <a:srgbClr val="757677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gray">
            <a:xfrm>
              <a:off x="0" y="3440"/>
              <a:ext cx="5760" cy="136"/>
            </a:xfrm>
            <a:prstGeom prst="rect">
              <a:avLst/>
            </a:prstGeom>
            <a:solidFill>
              <a:srgbClr val="A01437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  <p:grpSp>
          <p:nvGrpSpPr>
            <p:cNvPr id="3" name="Group 10"/>
            <p:cNvGrpSpPr>
              <a:grpSpLocks/>
            </p:cNvGrpSpPr>
            <p:nvPr/>
          </p:nvGrpSpPr>
          <p:grpSpPr bwMode="auto">
            <a:xfrm>
              <a:off x="0" y="408"/>
              <a:ext cx="2578" cy="3015"/>
              <a:chOff x="-222" y="549"/>
              <a:chExt cx="2578" cy="3015"/>
            </a:xfrm>
          </p:grpSpPr>
          <p:sp>
            <p:nvSpPr>
              <p:cNvPr id="12" name="Freeform 11"/>
              <p:cNvSpPr>
                <a:spLocks/>
              </p:cNvSpPr>
              <p:nvPr/>
            </p:nvSpPr>
            <p:spPr bwMode="auto">
              <a:xfrm>
                <a:off x="-222" y="549"/>
                <a:ext cx="2578" cy="3004"/>
              </a:xfrm>
              <a:custGeom>
                <a:avLst/>
                <a:gdLst/>
                <a:ahLst/>
                <a:cxnLst>
                  <a:cxn ang="0">
                    <a:pos x="1201" y="0"/>
                  </a:cxn>
                  <a:cxn ang="0">
                    <a:pos x="1201" y="28"/>
                  </a:cxn>
                  <a:cxn ang="0">
                    <a:pos x="1201" y="8462"/>
                  </a:cxn>
                  <a:cxn ang="0">
                    <a:pos x="0" y="10187"/>
                  </a:cxn>
                  <a:cxn ang="0">
                    <a:pos x="0" y="10248"/>
                  </a:cxn>
                  <a:cxn ang="0">
                    <a:pos x="1257" y="8462"/>
                  </a:cxn>
                  <a:cxn ang="0">
                    <a:pos x="1257" y="56"/>
                  </a:cxn>
                  <a:cxn ang="0">
                    <a:pos x="4226" y="56"/>
                  </a:cxn>
                  <a:cxn ang="0">
                    <a:pos x="4226" y="8462"/>
                  </a:cxn>
                  <a:cxn ang="0">
                    <a:pos x="6255" y="10403"/>
                  </a:cxn>
                  <a:cxn ang="0">
                    <a:pos x="8288" y="8462"/>
                  </a:cxn>
                  <a:cxn ang="0">
                    <a:pos x="8288" y="56"/>
                  </a:cxn>
                  <a:cxn ang="0">
                    <a:pos x="11259" y="56"/>
                  </a:cxn>
                  <a:cxn ang="0">
                    <a:pos x="11259" y="8394"/>
                  </a:cxn>
                  <a:cxn ang="0">
                    <a:pos x="6255" y="13149"/>
                  </a:cxn>
                  <a:cxn ang="0">
                    <a:pos x="2764" y="11580"/>
                  </a:cxn>
                  <a:cxn ang="0">
                    <a:pos x="2742" y="11550"/>
                  </a:cxn>
                  <a:cxn ang="0">
                    <a:pos x="2719" y="11579"/>
                  </a:cxn>
                  <a:cxn ang="0">
                    <a:pos x="0" y="13070"/>
                  </a:cxn>
                  <a:cxn ang="0">
                    <a:pos x="0" y="13128"/>
                  </a:cxn>
                  <a:cxn ang="0">
                    <a:pos x="2741" y="11642"/>
                  </a:cxn>
                  <a:cxn ang="0">
                    <a:pos x="6255" y="13205"/>
                  </a:cxn>
                  <a:cxn ang="0">
                    <a:pos x="11316" y="8394"/>
                  </a:cxn>
                  <a:cxn ang="0">
                    <a:pos x="11316" y="28"/>
                  </a:cxn>
                  <a:cxn ang="0">
                    <a:pos x="11316" y="0"/>
                  </a:cxn>
                  <a:cxn ang="0">
                    <a:pos x="11287" y="0"/>
                  </a:cxn>
                  <a:cxn ang="0">
                    <a:pos x="8260" y="0"/>
                  </a:cxn>
                  <a:cxn ang="0">
                    <a:pos x="8231" y="0"/>
                  </a:cxn>
                  <a:cxn ang="0">
                    <a:pos x="8231" y="28"/>
                  </a:cxn>
                  <a:cxn ang="0">
                    <a:pos x="8231" y="8462"/>
                  </a:cxn>
                  <a:cxn ang="0">
                    <a:pos x="6255" y="10347"/>
                  </a:cxn>
                  <a:cxn ang="0">
                    <a:pos x="4282" y="8462"/>
                  </a:cxn>
                  <a:cxn ang="0">
                    <a:pos x="4282" y="28"/>
                  </a:cxn>
                  <a:cxn ang="0">
                    <a:pos x="4282" y="0"/>
                  </a:cxn>
                  <a:cxn ang="0">
                    <a:pos x="4254" y="0"/>
                  </a:cxn>
                  <a:cxn ang="0">
                    <a:pos x="1229" y="0"/>
                  </a:cxn>
                  <a:cxn ang="0">
                    <a:pos x="1201" y="0"/>
                  </a:cxn>
                </a:cxnLst>
                <a:rect l="0" t="0" r="r" b="b"/>
                <a:pathLst>
                  <a:path w="11316" h="13205">
                    <a:moveTo>
                      <a:pt x="1201" y="0"/>
                    </a:moveTo>
                    <a:lnTo>
                      <a:pt x="1201" y="28"/>
                    </a:lnTo>
                    <a:lnTo>
                      <a:pt x="1201" y="8462"/>
                    </a:lnTo>
                    <a:cubicBezTo>
                      <a:pt x="1201" y="9224"/>
                      <a:pt x="705" y="9893"/>
                      <a:pt x="0" y="10187"/>
                    </a:cubicBezTo>
                    <a:lnTo>
                      <a:pt x="0" y="10248"/>
                    </a:lnTo>
                    <a:cubicBezTo>
                      <a:pt x="736" y="9950"/>
                      <a:pt x="1257" y="9256"/>
                      <a:pt x="1257" y="8462"/>
                    </a:cubicBezTo>
                    <a:lnTo>
                      <a:pt x="1257" y="56"/>
                    </a:lnTo>
                    <a:lnTo>
                      <a:pt x="4226" y="56"/>
                    </a:lnTo>
                    <a:lnTo>
                      <a:pt x="4226" y="8462"/>
                    </a:lnTo>
                    <a:cubicBezTo>
                      <a:pt x="4226" y="9522"/>
                      <a:pt x="5153" y="10403"/>
                      <a:pt x="6255" y="10403"/>
                    </a:cubicBezTo>
                    <a:cubicBezTo>
                      <a:pt x="7385" y="10403"/>
                      <a:pt x="8288" y="9522"/>
                      <a:pt x="8288" y="8462"/>
                    </a:cubicBezTo>
                    <a:lnTo>
                      <a:pt x="8288" y="56"/>
                    </a:lnTo>
                    <a:lnTo>
                      <a:pt x="11259" y="56"/>
                    </a:lnTo>
                    <a:lnTo>
                      <a:pt x="11259" y="8394"/>
                    </a:lnTo>
                    <a:cubicBezTo>
                      <a:pt x="11259" y="11026"/>
                      <a:pt x="9002" y="13149"/>
                      <a:pt x="6255" y="13149"/>
                    </a:cubicBezTo>
                    <a:cubicBezTo>
                      <a:pt x="4933" y="13149"/>
                      <a:pt x="3399" y="12435"/>
                      <a:pt x="2764" y="11580"/>
                    </a:cubicBezTo>
                    <a:lnTo>
                      <a:pt x="2742" y="11550"/>
                    </a:lnTo>
                    <a:lnTo>
                      <a:pt x="2719" y="11579"/>
                    </a:lnTo>
                    <a:cubicBezTo>
                      <a:pt x="2191" y="12266"/>
                      <a:pt x="1097" y="12862"/>
                      <a:pt x="0" y="13070"/>
                    </a:cubicBezTo>
                    <a:lnTo>
                      <a:pt x="0" y="13128"/>
                    </a:lnTo>
                    <a:cubicBezTo>
                      <a:pt x="1098" y="12924"/>
                      <a:pt x="2190" y="12336"/>
                      <a:pt x="2741" y="11642"/>
                    </a:cubicBezTo>
                    <a:cubicBezTo>
                      <a:pt x="3405" y="12506"/>
                      <a:pt x="4928" y="13205"/>
                      <a:pt x="6255" y="13205"/>
                    </a:cubicBezTo>
                    <a:cubicBezTo>
                      <a:pt x="9032" y="13205"/>
                      <a:pt x="11316" y="11058"/>
                      <a:pt x="11316" y="8394"/>
                    </a:cubicBezTo>
                    <a:lnTo>
                      <a:pt x="11316" y="28"/>
                    </a:lnTo>
                    <a:lnTo>
                      <a:pt x="11316" y="0"/>
                    </a:lnTo>
                    <a:lnTo>
                      <a:pt x="11287" y="0"/>
                    </a:lnTo>
                    <a:lnTo>
                      <a:pt x="8260" y="0"/>
                    </a:lnTo>
                    <a:lnTo>
                      <a:pt x="8231" y="0"/>
                    </a:lnTo>
                    <a:lnTo>
                      <a:pt x="8231" y="28"/>
                    </a:lnTo>
                    <a:lnTo>
                      <a:pt x="8231" y="8462"/>
                    </a:lnTo>
                    <a:cubicBezTo>
                      <a:pt x="8231" y="9489"/>
                      <a:pt x="7355" y="10347"/>
                      <a:pt x="6255" y="10347"/>
                    </a:cubicBezTo>
                    <a:cubicBezTo>
                      <a:pt x="5184" y="10347"/>
                      <a:pt x="4282" y="9489"/>
                      <a:pt x="4282" y="8462"/>
                    </a:cubicBezTo>
                    <a:lnTo>
                      <a:pt x="4282" y="28"/>
                    </a:lnTo>
                    <a:lnTo>
                      <a:pt x="4282" y="0"/>
                    </a:lnTo>
                    <a:lnTo>
                      <a:pt x="4254" y="0"/>
                    </a:lnTo>
                    <a:lnTo>
                      <a:pt x="1229" y="0"/>
                    </a:lnTo>
                    <a:lnTo>
                      <a:pt x="1201" y="0"/>
                    </a:ln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Freeform 12"/>
              <p:cNvSpPr>
                <a:spLocks/>
              </p:cNvSpPr>
              <p:nvPr/>
            </p:nvSpPr>
            <p:spPr bwMode="auto">
              <a:xfrm>
                <a:off x="-222" y="560"/>
                <a:ext cx="2567" cy="3004"/>
              </a:xfrm>
              <a:custGeom>
                <a:avLst/>
                <a:gdLst/>
                <a:ahLst/>
                <a:cxnLst>
                  <a:cxn ang="0">
                    <a:pos x="1150" y="0"/>
                  </a:cxn>
                  <a:cxn ang="0">
                    <a:pos x="1150" y="28"/>
                  </a:cxn>
                  <a:cxn ang="0">
                    <a:pos x="1150" y="8463"/>
                  </a:cxn>
                  <a:cxn ang="0">
                    <a:pos x="0" y="10166"/>
                  </a:cxn>
                  <a:cxn ang="0">
                    <a:pos x="0" y="10227"/>
                  </a:cxn>
                  <a:cxn ang="0">
                    <a:pos x="1206" y="8463"/>
                  </a:cxn>
                  <a:cxn ang="0">
                    <a:pos x="1206" y="57"/>
                  </a:cxn>
                  <a:cxn ang="0">
                    <a:pos x="4175" y="57"/>
                  </a:cxn>
                  <a:cxn ang="0">
                    <a:pos x="4175" y="8463"/>
                  </a:cxn>
                  <a:cxn ang="0">
                    <a:pos x="6205" y="10404"/>
                  </a:cxn>
                  <a:cxn ang="0">
                    <a:pos x="8237" y="8463"/>
                  </a:cxn>
                  <a:cxn ang="0">
                    <a:pos x="8237" y="57"/>
                  </a:cxn>
                  <a:cxn ang="0">
                    <a:pos x="11208" y="57"/>
                  </a:cxn>
                  <a:cxn ang="0">
                    <a:pos x="11208" y="8394"/>
                  </a:cxn>
                  <a:cxn ang="0">
                    <a:pos x="6205" y="13150"/>
                  </a:cxn>
                  <a:cxn ang="0">
                    <a:pos x="2713" y="11580"/>
                  </a:cxn>
                  <a:cxn ang="0">
                    <a:pos x="2691" y="11550"/>
                  </a:cxn>
                  <a:cxn ang="0">
                    <a:pos x="2668" y="11580"/>
                  </a:cxn>
                  <a:cxn ang="0">
                    <a:pos x="0" y="13061"/>
                  </a:cxn>
                  <a:cxn ang="0">
                    <a:pos x="0" y="13120"/>
                  </a:cxn>
                  <a:cxn ang="0">
                    <a:pos x="2690" y="11644"/>
                  </a:cxn>
                  <a:cxn ang="0">
                    <a:pos x="6205" y="13206"/>
                  </a:cxn>
                  <a:cxn ang="0">
                    <a:pos x="11265" y="8394"/>
                  </a:cxn>
                  <a:cxn ang="0">
                    <a:pos x="11265" y="28"/>
                  </a:cxn>
                  <a:cxn ang="0">
                    <a:pos x="11265" y="0"/>
                  </a:cxn>
                  <a:cxn ang="0">
                    <a:pos x="11236" y="0"/>
                  </a:cxn>
                  <a:cxn ang="0">
                    <a:pos x="8209" y="0"/>
                  </a:cxn>
                  <a:cxn ang="0">
                    <a:pos x="8180" y="0"/>
                  </a:cxn>
                  <a:cxn ang="0">
                    <a:pos x="8180" y="28"/>
                  </a:cxn>
                  <a:cxn ang="0">
                    <a:pos x="8180" y="8463"/>
                  </a:cxn>
                  <a:cxn ang="0">
                    <a:pos x="6205" y="10348"/>
                  </a:cxn>
                  <a:cxn ang="0">
                    <a:pos x="4231" y="8463"/>
                  </a:cxn>
                  <a:cxn ang="0">
                    <a:pos x="4231" y="28"/>
                  </a:cxn>
                  <a:cxn ang="0">
                    <a:pos x="4231" y="0"/>
                  </a:cxn>
                  <a:cxn ang="0">
                    <a:pos x="4203" y="0"/>
                  </a:cxn>
                  <a:cxn ang="0">
                    <a:pos x="1178" y="0"/>
                  </a:cxn>
                  <a:cxn ang="0">
                    <a:pos x="1150" y="0"/>
                  </a:cxn>
                </a:cxnLst>
                <a:rect l="0" t="0" r="r" b="b"/>
                <a:pathLst>
                  <a:path w="11265" h="13206">
                    <a:moveTo>
                      <a:pt x="1150" y="0"/>
                    </a:moveTo>
                    <a:lnTo>
                      <a:pt x="1150" y="28"/>
                    </a:lnTo>
                    <a:lnTo>
                      <a:pt x="1150" y="8463"/>
                    </a:lnTo>
                    <a:cubicBezTo>
                      <a:pt x="1150" y="9207"/>
                      <a:pt x="677" y="9861"/>
                      <a:pt x="0" y="10166"/>
                    </a:cubicBezTo>
                    <a:lnTo>
                      <a:pt x="0" y="10227"/>
                    </a:lnTo>
                    <a:cubicBezTo>
                      <a:pt x="709" y="9918"/>
                      <a:pt x="1206" y="9239"/>
                      <a:pt x="1206" y="8463"/>
                    </a:cubicBezTo>
                    <a:lnTo>
                      <a:pt x="1206" y="57"/>
                    </a:lnTo>
                    <a:lnTo>
                      <a:pt x="4175" y="57"/>
                    </a:lnTo>
                    <a:lnTo>
                      <a:pt x="4175" y="8463"/>
                    </a:lnTo>
                    <a:cubicBezTo>
                      <a:pt x="4175" y="9523"/>
                      <a:pt x="5103" y="10404"/>
                      <a:pt x="6205" y="10404"/>
                    </a:cubicBezTo>
                    <a:cubicBezTo>
                      <a:pt x="7335" y="10404"/>
                      <a:pt x="8237" y="9523"/>
                      <a:pt x="8237" y="8463"/>
                    </a:cubicBezTo>
                    <a:lnTo>
                      <a:pt x="8237" y="57"/>
                    </a:lnTo>
                    <a:lnTo>
                      <a:pt x="11208" y="57"/>
                    </a:lnTo>
                    <a:lnTo>
                      <a:pt x="11208" y="8394"/>
                    </a:lnTo>
                    <a:cubicBezTo>
                      <a:pt x="11208" y="11026"/>
                      <a:pt x="8952" y="13150"/>
                      <a:pt x="6205" y="13150"/>
                    </a:cubicBezTo>
                    <a:cubicBezTo>
                      <a:pt x="4882" y="13150"/>
                      <a:pt x="3348" y="12435"/>
                      <a:pt x="2713" y="11580"/>
                    </a:cubicBezTo>
                    <a:lnTo>
                      <a:pt x="2691" y="11550"/>
                    </a:lnTo>
                    <a:lnTo>
                      <a:pt x="2668" y="11580"/>
                    </a:lnTo>
                    <a:cubicBezTo>
                      <a:pt x="2148" y="12257"/>
                      <a:pt x="1080" y="12844"/>
                      <a:pt x="0" y="13061"/>
                    </a:cubicBezTo>
                    <a:lnTo>
                      <a:pt x="0" y="13120"/>
                    </a:lnTo>
                    <a:cubicBezTo>
                      <a:pt x="1081" y="12907"/>
                      <a:pt x="2148" y="12327"/>
                      <a:pt x="2690" y="11644"/>
                    </a:cubicBezTo>
                    <a:cubicBezTo>
                      <a:pt x="3354" y="12508"/>
                      <a:pt x="4877" y="13206"/>
                      <a:pt x="6205" y="13206"/>
                    </a:cubicBezTo>
                    <a:cubicBezTo>
                      <a:pt x="8981" y="13206"/>
                      <a:pt x="11265" y="11058"/>
                      <a:pt x="11265" y="8394"/>
                    </a:cubicBezTo>
                    <a:lnTo>
                      <a:pt x="11265" y="28"/>
                    </a:lnTo>
                    <a:lnTo>
                      <a:pt x="11265" y="0"/>
                    </a:lnTo>
                    <a:lnTo>
                      <a:pt x="11236" y="0"/>
                    </a:lnTo>
                    <a:lnTo>
                      <a:pt x="8209" y="0"/>
                    </a:lnTo>
                    <a:lnTo>
                      <a:pt x="8180" y="0"/>
                    </a:lnTo>
                    <a:lnTo>
                      <a:pt x="8180" y="28"/>
                    </a:lnTo>
                    <a:lnTo>
                      <a:pt x="8180" y="8463"/>
                    </a:lnTo>
                    <a:cubicBezTo>
                      <a:pt x="8180" y="9491"/>
                      <a:pt x="7305" y="10348"/>
                      <a:pt x="6205" y="10348"/>
                    </a:cubicBezTo>
                    <a:cubicBezTo>
                      <a:pt x="5133" y="10348"/>
                      <a:pt x="4231" y="9490"/>
                      <a:pt x="4231" y="8463"/>
                    </a:cubicBezTo>
                    <a:lnTo>
                      <a:pt x="4231" y="28"/>
                    </a:lnTo>
                    <a:lnTo>
                      <a:pt x="4231" y="0"/>
                    </a:lnTo>
                    <a:lnTo>
                      <a:pt x="4203" y="0"/>
                    </a:lnTo>
                    <a:lnTo>
                      <a:pt x="1178" y="0"/>
                    </a:lnTo>
                    <a:lnTo>
                      <a:pt x="115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5" name="Slide Number Placeholder 19"/>
          <p:cNvSpPr txBox="1">
            <a:spLocks/>
          </p:cNvSpPr>
          <p:nvPr userDrawn="1">
            <p:custDataLst>
              <p:tags r:id="rId2"/>
            </p:custDataLst>
          </p:nvPr>
        </p:nvSpPr>
        <p:spPr bwMode="auto">
          <a:xfrm>
            <a:off x="7597420" y="6604951"/>
            <a:ext cx="1298575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757677"/>
                </a:solidFill>
              </a:defRPr>
            </a:lvl1pPr>
          </a:lstStyle>
          <a:p>
            <a:pPr algn="r">
              <a:defRPr/>
            </a:pPr>
            <a:r>
              <a:rPr lang="de-DE" sz="1000" smtClean="0">
                <a:solidFill>
                  <a:srgbClr val="757677"/>
                </a:solidFill>
              </a:rPr>
              <a:t>Seite </a:t>
            </a:r>
            <a:fld id="{57282E12-AC30-4C30-91CF-1304F955FEAA}" type="slidenum">
              <a:rPr lang="de-DE" sz="1000" smtClean="0">
                <a:solidFill>
                  <a:srgbClr val="757677"/>
                </a:solidFill>
              </a:rPr>
              <a:pPr algn="r">
                <a:defRPr/>
              </a:pPr>
              <a:t>‹Nr.›</a:t>
            </a:fld>
            <a:endParaRPr lang="de-DE" sz="1000">
              <a:solidFill>
                <a:srgbClr val="757677"/>
              </a:solidFill>
            </a:endParaRPr>
          </a:p>
        </p:txBody>
      </p:sp>
      <p:sp>
        <p:nvSpPr>
          <p:cNvPr id="17" name="Footer Placeholder 20"/>
          <p:cNvSpPr txBox="1"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699792" y="6463924"/>
            <a:ext cx="3744416" cy="12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757677"/>
                </a:solidFill>
              </a:defRPr>
            </a:lvl1pPr>
          </a:lstStyle>
          <a:p>
            <a:pPr>
              <a:defRPr/>
            </a:pPr>
            <a:r>
              <a:rPr lang="de-DE" sz="1000" smtClean="0">
                <a:solidFill>
                  <a:srgbClr val="757677"/>
                </a:solidFill>
              </a:rPr>
              <a:t>Michael Metternich</a:t>
            </a:r>
            <a:endParaRPr lang="de-DE" sz="1000" dirty="0">
              <a:solidFill>
                <a:srgbClr val="757677"/>
              </a:solidFill>
            </a:endParaRPr>
          </a:p>
        </p:txBody>
      </p:sp>
      <p:sp>
        <p:nvSpPr>
          <p:cNvPr id="18" name="Date Placeholder 18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6660232" y="6470475"/>
            <a:ext cx="1296988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757677"/>
                </a:solidFill>
              </a:defRPr>
            </a:lvl1pPr>
          </a:lstStyle>
          <a:p>
            <a:pPr algn="r">
              <a:defRPr/>
            </a:pPr>
            <a:r>
              <a:rPr lang="de-DE" sz="1000" smtClean="0">
                <a:solidFill>
                  <a:srgbClr val="757677"/>
                </a:solidFill>
              </a:rPr>
              <a:t>15.08.11</a:t>
            </a:r>
            <a:endParaRPr lang="de-DE" sz="1000" dirty="0">
              <a:solidFill>
                <a:srgbClr val="757677"/>
              </a:solidFill>
            </a:endParaRPr>
          </a:p>
        </p:txBody>
      </p:sp>
      <p:sp>
        <p:nvSpPr>
          <p:cNvPr id="23" name="Datumsplatzhalter 22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rgbClr val="757677"/>
                </a:solidFill>
              </a:defRPr>
            </a:lvl1pPr>
          </a:lstStyle>
          <a:p>
            <a:r>
              <a:rPr lang="de-DE" smtClean="0"/>
              <a:t>01.06.2013</a:t>
            </a:r>
            <a:endParaRPr lang="de-DE"/>
          </a:p>
        </p:txBody>
      </p:sp>
      <p:sp>
        <p:nvSpPr>
          <p:cNvPr id="24" name="Foliennummernplatzhalter 2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rgbClr val="757677"/>
                </a:solidFill>
              </a:defRPr>
            </a:lvl1pPr>
          </a:lstStyle>
          <a:p>
            <a:r>
              <a:rPr lang="de-DE" smtClean="0"/>
              <a:t>Seite </a:t>
            </a:r>
            <a:fld id="{57282E12-AC30-4C30-91CF-1304F955FEA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5" name="Fußzeilenplatzhalter 2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rgbClr val="757677"/>
                </a:solidFill>
              </a:defRPr>
            </a:lvl1pPr>
          </a:lstStyle>
          <a:p>
            <a:r>
              <a:rPr lang="de-DE" smtClean="0"/>
              <a:t>Autor der Präsentation</a:t>
            </a:r>
            <a:endParaRPr lang="de-DE" dirty="0"/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4572000" y="2709463"/>
            <a:ext cx="4320000" cy="864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de-DE" sz="2600" b="1" baseline="0" dirty="0" smtClean="0"/>
            </a:lvl1pPr>
          </a:lstStyle>
          <a:p>
            <a:pPr marL="0" lvl="0" indent="0"/>
            <a:r>
              <a:rPr lang="de-DE" dirty="0" smtClean="0"/>
              <a:t>Titel der Trennseite hier eingeben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nksag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7" name="Rectangle 103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5084764"/>
            <a:ext cx="9144000" cy="1225550"/>
          </a:xfrm>
          <a:prstGeom prst="rect">
            <a:avLst/>
          </a:prstGeom>
          <a:solidFill>
            <a:srgbClr val="0068A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de-DE" sz="3000" kern="1200" noProof="0">
              <a:solidFill>
                <a:srgbClr val="F82B2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4109" name="Text Box 103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hidden">
          <a:xfrm>
            <a:off x="7956550" y="6450392"/>
            <a:ext cx="9366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r"/>
            <a:r>
              <a:rPr lang="de-DE" sz="1000" noProof="0" dirty="0" smtClean="0">
                <a:solidFill>
                  <a:schemeClr val="bg1"/>
                </a:solidFill>
              </a:rPr>
              <a:t>www.bdew.de</a:t>
            </a:r>
            <a:endParaRPr lang="de-DE" sz="1000" noProof="0" dirty="0">
              <a:solidFill>
                <a:schemeClr val="bg1"/>
              </a:solidFill>
            </a:endParaRPr>
          </a:p>
        </p:txBody>
      </p:sp>
      <p:sp>
        <p:nvSpPr>
          <p:cNvPr id="33" name="TextBox 5"/>
          <p:cNvSpPr txBox="1"/>
          <p:nvPr>
            <p:custDataLst>
              <p:tags r:id="rId3"/>
            </p:custDataLst>
          </p:nvPr>
        </p:nvSpPr>
        <p:spPr>
          <a:xfrm>
            <a:off x="827583" y="1772816"/>
            <a:ext cx="8065591" cy="9354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3600" noProof="0" dirty="0" smtClean="0"/>
              <a:t>Vielen Dank für Ihre Aufmerksamkeit!</a:t>
            </a:r>
          </a:p>
        </p:txBody>
      </p:sp>
      <p:sp>
        <p:nvSpPr>
          <p:cNvPr id="34" name="TextBox 6"/>
          <p:cNvSpPr txBox="1"/>
          <p:nvPr>
            <p:custDataLst>
              <p:tags r:id="rId4"/>
            </p:custDataLst>
          </p:nvPr>
        </p:nvSpPr>
        <p:spPr>
          <a:xfrm>
            <a:off x="827583" y="3140174"/>
            <a:ext cx="8065591" cy="18009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1400" noProof="0" dirty="0" smtClean="0"/>
              <a:t>BDEW Bundesverband</a:t>
            </a:r>
            <a:r>
              <a:rPr lang="de-DE" sz="1400" baseline="0" noProof="0" dirty="0" smtClean="0"/>
              <a:t> der Energie- und Wasserwirtschaft e.V.</a:t>
            </a:r>
            <a:br>
              <a:rPr lang="de-DE" sz="1400" baseline="0" noProof="0" dirty="0" smtClean="0"/>
            </a:br>
            <a:r>
              <a:rPr lang="de-DE" sz="1400" baseline="0" noProof="0" dirty="0" smtClean="0"/>
              <a:t>Reinhardtstraße 32</a:t>
            </a:r>
          </a:p>
          <a:p>
            <a:pPr algn="l"/>
            <a:r>
              <a:rPr lang="de-DE" sz="1400" baseline="0" noProof="0" dirty="0" smtClean="0"/>
              <a:t>10117 Berlin</a:t>
            </a:r>
          </a:p>
          <a:p>
            <a:pPr algn="l"/>
            <a:endParaRPr lang="de-DE" sz="1400" baseline="0" noProof="0" dirty="0" smtClean="0"/>
          </a:p>
          <a:p>
            <a:pPr algn="l"/>
            <a:r>
              <a:rPr lang="de-DE" sz="1400" baseline="0" noProof="0" dirty="0" smtClean="0"/>
              <a:t>Telefon +49 (0)30 - 300199-</a:t>
            </a:r>
          </a:p>
          <a:p>
            <a:pPr algn="l"/>
            <a:endParaRPr lang="de-DE" sz="1400" baseline="0" noProof="0" dirty="0" smtClean="0"/>
          </a:p>
          <a:p>
            <a:pPr algn="l"/>
            <a:r>
              <a:rPr lang="de-DE" sz="1400" baseline="0" noProof="0" dirty="0" smtClean="0"/>
              <a:t>www.bdew.de</a:t>
            </a:r>
          </a:p>
          <a:p>
            <a:pPr algn="l"/>
            <a:endParaRPr lang="de-DE" sz="1400" baseline="0" noProof="0" dirty="0" smtClean="0"/>
          </a:p>
          <a:p>
            <a:pPr algn="l"/>
            <a:endParaRPr lang="de-DE" sz="1400" noProof="0" dirty="0"/>
          </a:p>
        </p:txBody>
      </p:sp>
      <p:sp>
        <p:nvSpPr>
          <p:cNvPr id="35" name="Text Placeholder 25"/>
          <p:cNvSpPr>
            <a:spLocks noGrp="1"/>
          </p:cNvSpPr>
          <p:nvPr>
            <p:ph type="body" sz="quarter" idx="13" hasCustomPrompt="1"/>
          </p:nvPr>
        </p:nvSpPr>
        <p:spPr>
          <a:xfrm>
            <a:off x="827088" y="2564904"/>
            <a:ext cx="8066087" cy="504056"/>
          </a:xfrm>
          <a:noFill/>
        </p:spPr>
        <p:txBody>
          <a:bodyPr wrap="square" lIns="0" tIns="0" rIns="0" bIns="0" rtlCol="0">
            <a:noAutofit/>
          </a:bodyPr>
          <a:lstStyle>
            <a:lvl1pPr marL="0" indent="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baseline="0" noProof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 noProof="0" dirty="0" smtClean="0"/>
              <a:t>Ihren Namen </a:t>
            </a:r>
            <a:br>
              <a:rPr lang="de-DE" noProof="0" dirty="0" smtClean="0"/>
            </a:br>
            <a:r>
              <a:rPr lang="de-DE" noProof="0" dirty="0" smtClean="0"/>
              <a:t>und Ihren Geschäftsbereich hier eingeben</a:t>
            </a:r>
          </a:p>
        </p:txBody>
      </p:sp>
      <p:sp>
        <p:nvSpPr>
          <p:cNvPr id="36" name="Text Placeholder 27"/>
          <p:cNvSpPr>
            <a:spLocks noGrp="1"/>
          </p:cNvSpPr>
          <p:nvPr>
            <p:ph type="body" sz="quarter" idx="14" hasCustomPrompt="1"/>
          </p:nvPr>
        </p:nvSpPr>
        <p:spPr>
          <a:xfrm>
            <a:off x="3035364" y="3991087"/>
            <a:ext cx="2337178" cy="215444"/>
          </a:xfrm>
          <a:noFill/>
        </p:spPr>
        <p:txBody>
          <a:bodyPr wrap="non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baseline="0" noProof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265113" indent="3175"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noProof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noProof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noProof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 noProof="0" dirty="0" smtClean="0"/>
              <a:t>Ihre Durchwahl hier eingeben</a:t>
            </a:r>
          </a:p>
        </p:txBody>
      </p:sp>
      <p:sp>
        <p:nvSpPr>
          <p:cNvPr id="37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827583" y="4221088"/>
            <a:ext cx="2695994" cy="215444"/>
          </a:xfrm>
          <a:noFill/>
        </p:spPr>
        <p:txBody>
          <a:bodyPr wrap="none" lIns="0" tIns="0" rIns="0" bIns="0" rtlCol="0" anchor="ctr" anchorCtr="0">
            <a:spAutoFit/>
          </a:bodyPr>
          <a:lstStyle>
            <a:lvl1pPr marL="0" indent="0" algn="l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400" kern="1200" noProof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265113" indent="3175"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noProof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noProof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noProof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noProof="0" dirty="0" smtClean="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</a:lstStyle>
          <a:p>
            <a:pPr lvl="0"/>
            <a:r>
              <a:rPr lang="de-DE" noProof="0" dirty="0" smtClean="0"/>
              <a:t>Ihre E-Mail Adresse hier eingeben</a:t>
            </a:r>
          </a:p>
        </p:txBody>
      </p:sp>
      <p:sp>
        <p:nvSpPr>
          <p:cNvPr id="15" name="Rechteck 14"/>
          <p:cNvSpPr/>
          <p:nvPr/>
        </p:nvSpPr>
        <p:spPr bwMode="auto">
          <a:xfrm>
            <a:off x="2699792" y="6597352"/>
            <a:ext cx="3744416" cy="260648"/>
          </a:xfrm>
          <a:prstGeom prst="rect">
            <a:avLst/>
          </a:prstGeom>
          <a:solidFill>
            <a:srgbClr val="757677"/>
          </a:solidFill>
          <a:ln w="317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6"/>
          </p:nvPr>
        </p:nvSpPr>
        <p:spPr>
          <a:xfrm>
            <a:off x="6516216" y="6470475"/>
            <a:ext cx="1296988" cy="144000"/>
          </a:xfrm>
        </p:spPr>
        <p:txBody>
          <a:bodyPr/>
          <a:lstStyle>
            <a:lvl1pPr>
              <a:defRPr>
                <a:solidFill>
                  <a:srgbClr val="757677"/>
                </a:solidFill>
              </a:defRPr>
            </a:lvl1pPr>
          </a:lstStyle>
          <a:p>
            <a:r>
              <a:rPr lang="de-DE" smtClean="0"/>
              <a:t>01.06.2013</a:t>
            </a:r>
            <a:endParaRPr lang="de-DE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757677"/>
                </a:solidFill>
              </a:defRPr>
            </a:lvl1pPr>
          </a:lstStyle>
          <a:p>
            <a:r>
              <a:rPr lang="de-DE" smtClean="0"/>
              <a:t>Seite </a:t>
            </a:r>
            <a:fld id="{57282E12-AC30-4C30-91CF-1304F955FEAA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Fußzeilenplatzhalter 17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rgbClr val="757677"/>
                </a:solidFill>
              </a:defRPr>
            </a:lvl1pPr>
          </a:lstStyle>
          <a:p>
            <a:r>
              <a:rPr lang="de-DE" smtClean="0"/>
              <a:t>Autor der Präsentation</a:t>
            </a:r>
            <a:endParaRPr lang="de-DE" dirty="0"/>
          </a:p>
        </p:txBody>
      </p:sp>
    </p:spTree>
  </p:cSld>
  <p:clrMapOvr>
    <a:masterClrMapping/>
  </p:clrMapOvr>
  <p:transition spd="slow"/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244459" y="1340768"/>
            <a:ext cx="8640000" cy="4824413"/>
          </a:xfrm>
        </p:spPr>
        <p:txBody>
          <a:bodyPr/>
          <a:lstStyle/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seit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1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4" name="Fußzeilenplatzhalter 1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4"/>
          </p:nvPr>
        </p:nvSpPr>
        <p:spPr>
          <a:xfrm>
            <a:off x="0" y="1341437"/>
            <a:ext cx="9144000" cy="5516561"/>
          </a:xfrm>
        </p:spPr>
        <p:txBody>
          <a:bodyPr lIns="252000" tIns="180000"/>
          <a:lstStyle>
            <a:lvl1pPr>
              <a:buNone/>
              <a:defRPr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250825" y="204788"/>
            <a:ext cx="8642350" cy="776287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</a:t>
            </a:r>
            <a:fld id="{632DB4F8-487E-4DDF-AB56-5900C57430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765907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520" y="1339304"/>
            <a:ext cx="4211639" cy="4824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buClr>
                <a:srgbClr val="A01437"/>
              </a:buClr>
              <a:defRPr lang="en-US" dirty="0" smtClean="0"/>
            </a:lvl1pPr>
            <a:lvl2pPr algn="l" rtl="0" fontAlgn="base">
              <a:buClr>
                <a:srgbClr val="A01437"/>
              </a:buClr>
              <a:defRPr lang="en-US" dirty="0" smtClean="0"/>
            </a:lvl2pPr>
            <a:lvl3pPr algn="l" rtl="0" fontAlgn="base">
              <a:buClr>
                <a:srgbClr val="A01437"/>
              </a:buClr>
              <a:defRPr lang="en-US" dirty="0" smtClean="0"/>
            </a:lvl3pPr>
            <a:lvl4pPr algn="l" rtl="0" fontAlgn="base">
              <a:buClr>
                <a:srgbClr val="A01437"/>
              </a:buClr>
              <a:defRPr lang="en-US" dirty="0" smtClean="0"/>
            </a:lvl4pPr>
            <a:lvl5pPr algn="l" rtl="0" fontAlgn="base">
              <a:buClr>
                <a:srgbClr val="A01437"/>
              </a:buClr>
              <a:defRPr lang="en-GB" dirty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7668" y="1339304"/>
            <a:ext cx="4212000" cy="4824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buClr>
                <a:srgbClr val="A01437"/>
              </a:buClr>
              <a:defRPr lang="en-US" dirty="0" smtClean="0"/>
            </a:lvl1pPr>
            <a:lvl2pPr algn="l" rtl="0" fontAlgn="base">
              <a:buClr>
                <a:srgbClr val="A01437"/>
              </a:buClr>
              <a:defRPr lang="en-US" dirty="0" smtClean="0"/>
            </a:lvl2pPr>
            <a:lvl3pPr algn="l" rtl="0" fontAlgn="base">
              <a:buClr>
                <a:srgbClr val="A01437"/>
              </a:buClr>
              <a:defRPr lang="en-US" dirty="0" smtClean="0"/>
            </a:lvl3pPr>
            <a:lvl4pPr algn="l" rtl="0" fontAlgn="base">
              <a:buClr>
                <a:srgbClr val="A01437"/>
              </a:buClr>
              <a:defRPr lang="en-US" dirty="0" smtClean="0"/>
            </a:lvl4pPr>
            <a:lvl5pPr algn="l" rtl="0" fontAlgn="base">
              <a:buClr>
                <a:srgbClr val="A01437"/>
              </a:buClr>
              <a:defRPr lang="en-GB" dirty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251824" y="1341304"/>
            <a:ext cx="2736000" cy="4824000"/>
          </a:xfrm>
        </p:spPr>
        <p:txBody>
          <a:bodyPr/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  <p:custDataLst>
              <p:tags r:id="rId3"/>
            </p:custDataLst>
          </p:nvPr>
        </p:nvSpPr>
        <p:spPr>
          <a:xfrm>
            <a:off x="3203848" y="1341304"/>
            <a:ext cx="2736000" cy="4824000"/>
          </a:xfrm>
        </p:spPr>
        <p:txBody>
          <a:bodyPr/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noProof="0" smtClean="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6154738" y="1340768"/>
            <a:ext cx="2736000" cy="4824000"/>
          </a:xfrm>
        </p:spPr>
        <p:txBody>
          <a:bodyPr/>
          <a:lstStyle>
            <a:lvl1pPr>
              <a:defRPr lang="en-US" noProof="0" smtClean="0"/>
            </a:lvl1pPr>
            <a:lvl2pPr>
              <a:defRPr lang="en-US" noProof="0" smtClean="0"/>
            </a:lvl2pPr>
            <a:lvl3pPr>
              <a:defRPr lang="en-US" noProof="0" smtClean="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50824" y="188913"/>
            <a:ext cx="6840000" cy="792162"/>
          </a:xfrm>
        </p:spPr>
        <p:txBody>
          <a:bodyPr/>
          <a:lstStyle>
            <a:lvl1pPr>
              <a:defRPr lang="de-DE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0826" y="1341438"/>
            <a:ext cx="2016000" cy="4824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rgbClr val="A01437"/>
              </a:buClr>
              <a:buSzPct val="110000"/>
              <a:buFont typeface="Arial" pitchFamily="34" charset="0"/>
              <a:buChar char="•"/>
              <a:defRPr lang="de-DE" sz="1600" dirty="0" smtClean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2440800" y="1341438"/>
            <a:ext cx="2016000" cy="4824000"/>
          </a:xfrm>
        </p:spPr>
        <p:txBody>
          <a:bodyPr anchor="t" anchorCtr="0"/>
          <a:lstStyle>
            <a:lvl1pPr marL="180000" indent="-1800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itchFamily="34" charset="0"/>
              <a:buChar char="•"/>
              <a:defRPr lang="de-DE" sz="1600" b="0" dirty="0" smtClean="0"/>
            </a:lvl1pPr>
            <a:lvl2pPr>
              <a:defRPr lang="de-DE" b="0" dirty="0" smtClean="0"/>
            </a:lvl2pPr>
            <a:lvl3pPr>
              <a:defRPr lang="de-DE" b="0" dirty="0" smtClean="0"/>
            </a:lvl3pPr>
            <a:lvl4pPr>
              <a:defRPr lang="de-DE" b="0" dirty="0" smtClean="0"/>
            </a:lvl4pPr>
            <a:lvl5pPr>
              <a:defRPr lang="de-DE" b="0" dirty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80000" y="1341438"/>
            <a:ext cx="2016000" cy="4824000"/>
          </a:xfrm>
        </p:spPr>
        <p:txBody>
          <a:bodyPr anchor="t" anchorCtr="0"/>
          <a:lstStyle>
            <a:lvl1pPr marL="180000" indent="-1800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itchFamily="34" charset="0"/>
              <a:buChar char="•"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877175" y="1341438"/>
            <a:ext cx="2016000" cy="4824000"/>
          </a:xfrm>
        </p:spPr>
        <p:txBody>
          <a:bodyPr anchor="t" anchorCtr="0"/>
          <a:lstStyle>
            <a:lvl1pPr marL="180000" indent="-180000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SzPct val="110000"/>
              <a:buFont typeface="Arial" pitchFamily="34" charset="0"/>
              <a:buChar char="•"/>
              <a:defRPr sz="1600" b="0"/>
            </a:lvl1pPr>
            <a:lvl2pPr>
              <a:defRPr sz="2000" b="0"/>
            </a:lvl2pPr>
            <a:lvl3pPr>
              <a:defRPr sz="1800" b="0"/>
            </a:lvl3pPr>
            <a:lvl4pPr>
              <a:defRPr sz="1600" b="0"/>
            </a:lvl4pPr>
            <a:lvl5pPr>
              <a:defRPr sz="1600" b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</p:cSld>
  <p:clrMapOvr>
    <a:masterClrMapping/>
  </p:clrMapOvr>
  <p:transition spd="slow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51520" y="1341024"/>
            <a:ext cx="4212000" cy="2304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ts val="2200"/>
              </a:lnSpc>
              <a:buClr>
                <a:srgbClr val="A01437"/>
              </a:buClr>
              <a:buFont typeface="Wingdings" pitchFamily="2" charset="2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fontAlgn="base">
              <a:lnSpc>
                <a:spcPts val="2200"/>
              </a:lnSpc>
              <a:buClr>
                <a:srgbClr val="A01437"/>
              </a:buClr>
              <a:buFont typeface="Wingdings" pitchFamily="2" charset="2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fontAlgn="base">
              <a:lnSpc>
                <a:spcPts val="2200"/>
              </a:lnSpc>
              <a:buClr>
                <a:srgbClr val="A01437"/>
              </a:buClr>
              <a:buFont typeface="Wingdings" pitchFamily="2" charset="2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fontAlgn="base">
              <a:lnSpc>
                <a:spcPts val="2200"/>
              </a:lnSpc>
              <a:buClr>
                <a:srgbClr val="A01437"/>
              </a:buClr>
              <a:buFont typeface="Arial" pitchFamily="34" charset="0"/>
              <a:buChar char="–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fontAlgn="base">
              <a:lnSpc>
                <a:spcPts val="2200"/>
              </a:lnSpc>
              <a:buClr>
                <a:srgbClr val="A01437"/>
              </a:buClr>
              <a:buFont typeface="Arial" pitchFamily="34" charset="0"/>
              <a:buChar char="–"/>
              <a:defRPr lang="en-GB" sz="18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80480" y="1340768"/>
            <a:ext cx="4212000" cy="2304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ts val="2200"/>
              </a:lnSpc>
              <a:buClr>
                <a:srgbClr val="A01437"/>
              </a:buClr>
              <a:buFont typeface="Wingdings" pitchFamily="2" charset="2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fontAlgn="base">
              <a:lnSpc>
                <a:spcPts val="2200"/>
              </a:lnSpc>
              <a:buClr>
                <a:srgbClr val="A01437"/>
              </a:buClr>
              <a:buFont typeface="Wingdings" pitchFamily="2" charset="2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fontAlgn="base">
              <a:lnSpc>
                <a:spcPts val="2200"/>
              </a:lnSpc>
              <a:buClr>
                <a:srgbClr val="A01437"/>
              </a:buClr>
              <a:buFont typeface="Wingdings" pitchFamily="2" charset="2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fontAlgn="base">
              <a:lnSpc>
                <a:spcPts val="2200"/>
              </a:lnSpc>
              <a:buClr>
                <a:srgbClr val="A01437"/>
              </a:buClr>
              <a:buFont typeface="Arial" pitchFamily="34" charset="0"/>
              <a:buChar char="–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fontAlgn="base">
              <a:lnSpc>
                <a:spcPts val="2200"/>
              </a:lnSpc>
              <a:buClr>
                <a:srgbClr val="A01437"/>
              </a:buClr>
              <a:buFont typeface="Arial" pitchFamily="34" charset="0"/>
              <a:buChar char="–"/>
              <a:defRPr lang="en-GB" sz="18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251520" y="3861048"/>
            <a:ext cx="4212000" cy="2304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ts val="2200"/>
              </a:lnSpc>
              <a:buClr>
                <a:srgbClr val="A01437"/>
              </a:buClr>
              <a:buFont typeface="Wingdings" pitchFamily="2" charset="2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fontAlgn="base">
              <a:lnSpc>
                <a:spcPts val="2200"/>
              </a:lnSpc>
              <a:buClr>
                <a:srgbClr val="A01437"/>
              </a:buClr>
              <a:buFont typeface="Wingdings" pitchFamily="2" charset="2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fontAlgn="base">
              <a:lnSpc>
                <a:spcPts val="2200"/>
              </a:lnSpc>
              <a:buClr>
                <a:srgbClr val="A01437"/>
              </a:buClr>
              <a:buFont typeface="Wingdings" pitchFamily="2" charset="2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fontAlgn="base">
              <a:lnSpc>
                <a:spcPts val="2200"/>
              </a:lnSpc>
              <a:buClr>
                <a:srgbClr val="A01437"/>
              </a:buClr>
              <a:buFont typeface="Arial" pitchFamily="34" charset="0"/>
              <a:buChar char="–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fontAlgn="base">
              <a:lnSpc>
                <a:spcPts val="2200"/>
              </a:lnSpc>
              <a:buClr>
                <a:srgbClr val="A01437"/>
              </a:buClr>
              <a:buFont typeface="Arial" pitchFamily="34" charset="0"/>
              <a:buChar char="–"/>
              <a:defRPr lang="en-GB" sz="18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78363" y="3861048"/>
            <a:ext cx="4212000" cy="2304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ts val="2200"/>
              </a:lnSpc>
              <a:buClr>
                <a:srgbClr val="A01437"/>
              </a:buClr>
              <a:buFont typeface="Wingdings" pitchFamily="2" charset="2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fontAlgn="base">
              <a:lnSpc>
                <a:spcPts val="2200"/>
              </a:lnSpc>
              <a:buClr>
                <a:srgbClr val="A01437"/>
              </a:buClr>
              <a:buFont typeface="Wingdings" pitchFamily="2" charset="2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rtl="0" fontAlgn="base">
              <a:lnSpc>
                <a:spcPts val="2200"/>
              </a:lnSpc>
              <a:buClr>
                <a:srgbClr val="A01437"/>
              </a:buClr>
              <a:buFont typeface="Wingdings" pitchFamily="2" charset="2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rtl="0" fontAlgn="base">
              <a:lnSpc>
                <a:spcPts val="2200"/>
              </a:lnSpc>
              <a:buClr>
                <a:srgbClr val="A01437"/>
              </a:buClr>
              <a:buFont typeface="Arial" pitchFamily="34" charset="0"/>
              <a:buChar char="–"/>
              <a:defRPr lang="en-US" sz="18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rtl="0" fontAlgn="base">
              <a:lnSpc>
                <a:spcPts val="2200"/>
              </a:lnSpc>
              <a:buClr>
                <a:srgbClr val="A01437"/>
              </a:buClr>
              <a:buFont typeface="Arial" pitchFamily="34" charset="0"/>
              <a:buChar char="–"/>
              <a:defRPr lang="en-GB" sz="18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sechs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251824" y="1339974"/>
            <a:ext cx="2736000" cy="2305050"/>
          </a:xfrm>
          <a:prstGeom prst="rect">
            <a:avLst/>
          </a:prstGeom>
        </p:spPr>
        <p:txBody>
          <a:bodyPr/>
          <a:lstStyle>
            <a:lvl1pPr marL="269875" indent="-269875"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  <p:custDataLst>
              <p:tags r:id="rId3"/>
            </p:custDataLst>
          </p:nvPr>
        </p:nvSpPr>
        <p:spPr>
          <a:xfrm>
            <a:off x="3203574" y="1339974"/>
            <a:ext cx="2736000" cy="230505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251520" y="3860254"/>
            <a:ext cx="2736000" cy="230505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  <p:custDataLst>
              <p:tags r:id="rId5"/>
            </p:custDataLst>
          </p:nvPr>
        </p:nvSpPr>
        <p:spPr>
          <a:xfrm>
            <a:off x="6156480" y="1339974"/>
            <a:ext cx="2736000" cy="230505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  <p:custDataLst>
              <p:tags r:id="rId6"/>
            </p:custDataLst>
          </p:nvPr>
        </p:nvSpPr>
        <p:spPr>
          <a:xfrm>
            <a:off x="3204152" y="3860254"/>
            <a:ext cx="2736000" cy="230505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8"/>
            <p:custDataLst>
              <p:tags r:id="rId7"/>
            </p:custDataLst>
          </p:nvPr>
        </p:nvSpPr>
        <p:spPr>
          <a:xfrm>
            <a:off x="6156480" y="3860254"/>
            <a:ext cx="2736000" cy="230505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ölf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251744" y="1340928"/>
            <a:ext cx="2016000" cy="1440000"/>
          </a:xfrm>
        </p:spPr>
        <p:txBody>
          <a:bodyPr/>
          <a:lstStyle>
            <a:lvl1pPr>
              <a:lnSpc>
                <a:spcPts val="2000"/>
              </a:lnSpc>
              <a:defRPr sz="1600"/>
            </a:lvl1pPr>
            <a:lvl2pPr>
              <a:lnSpc>
                <a:spcPts val="2000"/>
              </a:lnSpc>
              <a:defRPr sz="1600"/>
            </a:lvl2pPr>
            <a:lvl3pPr>
              <a:lnSpc>
                <a:spcPts val="2000"/>
              </a:lnSpc>
              <a:defRPr sz="160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/>
            <p:custDataLst>
              <p:tags r:id="rId3"/>
            </p:custDataLst>
          </p:nvPr>
        </p:nvSpPr>
        <p:spPr>
          <a:xfrm>
            <a:off x="2442072" y="1340928"/>
            <a:ext cx="2016000" cy="1440000"/>
          </a:xfrm>
        </p:spPr>
        <p:txBody>
          <a:bodyPr/>
          <a:lstStyle>
            <a:lvl1pPr>
              <a:lnSpc>
                <a:spcPts val="2000"/>
              </a:lnSpc>
              <a:defRPr sz="1600"/>
            </a:lvl1pPr>
            <a:lvl2pPr>
              <a:lnSpc>
                <a:spcPts val="2000"/>
              </a:lnSpc>
              <a:defRPr sz="1600"/>
            </a:lvl2pPr>
            <a:lvl3pPr>
              <a:lnSpc>
                <a:spcPts val="2000"/>
              </a:lnSpc>
              <a:defRPr sz="160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6876256" y="1340928"/>
            <a:ext cx="2016000" cy="1440000"/>
          </a:xfrm>
        </p:spPr>
        <p:txBody>
          <a:bodyPr/>
          <a:lstStyle>
            <a:lvl1pPr>
              <a:lnSpc>
                <a:spcPts val="2000"/>
              </a:lnSpc>
              <a:defRPr sz="1600"/>
            </a:lvl1pPr>
            <a:lvl2pPr>
              <a:lnSpc>
                <a:spcPts val="2000"/>
              </a:lnSpc>
              <a:defRPr sz="1600"/>
            </a:lvl2pPr>
            <a:lvl3pPr>
              <a:lnSpc>
                <a:spcPts val="2000"/>
              </a:lnSpc>
              <a:defRPr sz="160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9" name="Content Placeholder 11"/>
          <p:cNvSpPr>
            <a:spLocks noGrp="1"/>
          </p:cNvSpPr>
          <p:nvPr>
            <p:ph sz="quarter" idx="16"/>
            <p:custDataLst>
              <p:tags r:id="rId5"/>
            </p:custDataLst>
          </p:nvPr>
        </p:nvSpPr>
        <p:spPr>
          <a:xfrm>
            <a:off x="4679560" y="1340928"/>
            <a:ext cx="2016000" cy="1440000"/>
          </a:xfrm>
        </p:spPr>
        <p:txBody>
          <a:bodyPr/>
          <a:lstStyle>
            <a:lvl1pPr>
              <a:lnSpc>
                <a:spcPts val="2000"/>
              </a:lnSpc>
              <a:defRPr sz="1600"/>
            </a:lvl1pPr>
            <a:lvl2pPr>
              <a:lnSpc>
                <a:spcPts val="2000"/>
              </a:lnSpc>
              <a:defRPr sz="1600"/>
            </a:lvl2pPr>
            <a:lvl3pPr>
              <a:lnSpc>
                <a:spcPts val="2000"/>
              </a:lnSpc>
              <a:defRPr sz="160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7"/>
            <p:custDataLst>
              <p:tags r:id="rId6"/>
            </p:custDataLst>
          </p:nvPr>
        </p:nvSpPr>
        <p:spPr>
          <a:xfrm>
            <a:off x="250130" y="3033116"/>
            <a:ext cx="2016000" cy="1440000"/>
          </a:xfrm>
        </p:spPr>
        <p:txBody>
          <a:bodyPr/>
          <a:lstStyle>
            <a:lvl1pPr>
              <a:lnSpc>
                <a:spcPts val="2000"/>
              </a:lnSpc>
              <a:defRPr sz="1600"/>
            </a:lvl1pPr>
            <a:lvl2pPr>
              <a:lnSpc>
                <a:spcPts val="2000"/>
              </a:lnSpc>
              <a:defRPr sz="1600"/>
            </a:lvl2pPr>
            <a:lvl3pPr>
              <a:lnSpc>
                <a:spcPts val="2000"/>
              </a:lnSpc>
              <a:defRPr sz="160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8"/>
            <p:custDataLst>
              <p:tags r:id="rId7"/>
            </p:custDataLst>
          </p:nvPr>
        </p:nvSpPr>
        <p:spPr>
          <a:xfrm>
            <a:off x="2442072" y="3033116"/>
            <a:ext cx="2016000" cy="1440000"/>
          </a:xfrm>
        </p:spPr>
        <p:txBody>
          <a:bodyPr/>
          <a:lstStyle>
            <a:lvl1pPr>
              <a:lnSpc>
                <a:spcPts val="2000"/>
              </a:lnSpc>
              <a:defRPr sz="1600"/>
            </a:lvl1pPr>
            <a:lvl2pPr>
              <a:lnSpc>
                <a:spcPts val="2000"/>
              </a:lnSpc>
              <a:defRPr sz="1600"/>
            </a:lvl2pPr>
            <a:lvl3pPr>
              <a:lnSpc>
                <a:spcPts val="2000"/>
              </a:lnSpc>
              <a:defRPr sz="160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15" name="Content Placeholder 13"/>
          <p:cNvSpPr>
            <a:spLocks noGrp="1"/>
          </p:cNvSpPr>
          <p:nvPr>
            <p:ph sz="quarter" idx="19"/>
            <p:custDataLst>
              <p:tags r:id="rId8"/>
            </p:custDataLst>
          </p:nvPr>
        </p:nvSpPr>
        <p:spPr>
          <a:xfrm>
            <a:off x="6876256" y="3033116"/>
            <a:ext cx="2016000" cy="1440000"/>
          </a:xfrm>
        </p:spPr>
        <p:txBody>
          <a:bodyPr/>
          <a:lstStyle>
            <a:lvl1pPr>
              <a:lnSpc>
                <a:spcPts val="2000"/>
              </a:lnSpc>
              <a:defRPr sz="1600"/>
            </a:lvl1pPr>
            <a:lvl2pPr>
              <a:lnSpc>
                <a:spcPts val="2000"/>
              </a:lnSpc>
              <a:defRPr sz="1600"/>
            </a:lvl2pPr>
            <a:lvl3pPr>
              <a:lnSpc>
                <a:spcPts val="2000"/>
              </a:lnSpc>
              <a:defRPr sz="160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16" name="Content Placeholder 11"/>
          <p:cNvSpPr>
            <a:spLocks noGrp="1"/>
          </p:cNvSpPr>
          <p:nvPr>
            <p:ph sz="quarter" idx="20"/>
            <p:custDataLst>
              <p:tags r:id="rId9"/>
            </p:custDataLst>
          </p:nvPr>
        </p:nvSpPr>
        <p:spPr>
          <a:xfrm>
            <a:off x="4679560" y="3033116"/>
            <a:ext cx="2016000" cy="1440000"/>
          </a:xfrm>
        </p:spPr>
        <p:txBody>
          <a:bodyPr/>
          <a:lstStyle>
            <a:lvl1pPr>
              <a:lnSpc>
                <a:spcPts val="2000"/>
              </a:lnSpc>
              <a:defRPr sz="1600"/>
            </a:lvl1pPr>
            <a:lvl2pPr>
              <a:lnSpc>
                <a:spcPts val="2000"/>
              </a:lnSpc>
              <a:defRPr sz="1600"/>
            </a:lvl2pPr>
            <a:lvl3pPr>
              <a:lnSpc>
                <a:spcPts val="2000"/>
              </a:lnSpc>
              <a:defRPr sz="160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1"/>
            <p:custDataLst>
              <p:tags r:id="rId10"/>
            </p:custDataLst>
          </p:nvPr>
        </p:nvSpPr>
        <p:spPr>
          <a:xfrm>
            <a:off x="249435" y="4725304"/>
            <a:ext cx="2016000" cy="1440000"/>
          </a:xfrm>
        </p:spPr>
        <p:txBody>
          <a:bodyPr/>
          <a:lstStyle>
            <a:lvl1pPr>
              <a:lnSpc>
                <a:spcPts val="2000"/>
              </a:lnSpc>
              <a:defRPr sz="1600"/>
            </a:lvl1pPr>
            <a:lvl2pPr>
              <a:lnSpc>
                <a:spcPts val="2000"/>
              </a:lnSpc>
              <a:defRPr sz="1600"/>
            </a:lvl2pPr>
            <a:lvl3pPr>
              <a:lnSpc>
                <a:spcPts val="2000"/>
              </a:lnSpc>
              <a:defRPr sz="160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18" name="Content Placeholder 11"/>
          <p:cNvSpPr>
            <a:spLocks noGrp="1"/>
          </p:cNvSpPr>
          <p:nvPr>
            <p:ph sz="quarter" idx="22"/>
            <p:custDataLst>
              <p:tags r:id="rId11"/>
            </p:custDataLst>
          </p:nvPr>
        </p:nvSpPr>
        <p:spPr>
          <a:xfrm>
            <a:off x="2442072" y="4725304"/>
            <a:ext cx="2016000" cy="1440000"/>
          </a:xfrm>
        </p:spPr>
        <p:txBody>
          <a:bodyPr/>
          <a:lstStyle>
            <a:lvl1pPr>
              <a:lnSpc>
                <a:spcPts val="2000"/>
              </a:lnSpc>
              <a:defRPr sz="1600"/>
            </a:lvl1pPr>
            <a:lvl2pPr>
              <a:lnSpc>
                <a:spcPts val="2000"/>
              </a:lnSpc>
              <a:defRPr sz="1600"/>
            </a:lvl2pPr>
            <a:lvl3pPr>
              <a:lnSpc>
                <a:spcPts val="2000"/>
              </a:lnSpc>
              <a:defRPr sz="160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19" name="Content Placeholder 13"/>
          <p:cNvSpPr>
            <a:spLocks noGrp="1"/>
          </p:cNvSpPr>
          <p:nvPr>
            <p:ph sz="quarter" idx="23"/>
            <p:custDataLst>
              <p:tags r:id="rId12"/>
            </p:custDataLst>
          </p:nvPr>
        </p:nvSpPr>
        <p:spPr>
          <a:xfrm>
            <a:off x="6876256" y="4725304"/>
            <a:ext cx="2016000" cy="1440000"/>
          </a:xfrm>
        </p:spPr>
        <p:txBody>
          <a:bodyPr/>
          <a:lstStyle>
            <a:lvl1pPr>
              <a:lnSpc>
                <a:spcPts val="2000"/>
              </a:lnSpc>
              <a:defRPr sz="1600"/>
            </a:lvl1pPr>
            <a:lvl2pPr>
              <a:lnSpc>
                <a:spcPts val="2000"/>
              </a:lnSpc>
              <a:defRPr sz="1600"/>
            </a:lvl2pPr>
            <a:lvl3pPr>
              <a:lnSpc>
                <a:spcPts val="2000"/>
              </a:lnSpc>
              <a:defRPr sz="160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20" name="Content Placeholder 11"/>
          <p:cNvSpPr>
            <a:spLocks noGrp="1"/>
          </p:cNvSpPr>
          <p:nvPr>
            <p:ph sz="quarter" idx="24"/>
            <p:custDataLst>
              <p:tags r:id="rId13"/>
            </p:custDataLst>
          </p:nvPr>
        </p:nvSpPr>
        <p:spPr>
          <a:xfrm>
            <a:off x="4679560" y="4725304"/>
            <a:ext cx="2016000" cy="1440000"/>
          </a:xfrm>
        </p:spPr>
        <p:txBody>
          <a:bodyPr/>
          <a:lstStyle>
            <a:lvl1pPr>
              <a:lnSpc>
                <a:spcPts val="2000"/>
              </a:lnSpc>
              <a:defRPr sz="1600"/>
            </a:lvl1pPr>
            <a:lvl2pPr>
              <a:lnSpc>
                <a:spcPts val="2000"/>
              </a:lnSpc>
              <a:defRPr sz="1600"/>
            </a:lvl2pPr>
            <a:lvl3pPr>
              <a:lnSpc>
                <a:spcPts val="2000"/>
              </a:lnSpc>
              <a:defRPr sz="1600"/>
            </a:lvl3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</p:txBody>
      </p:sp>
      <p:sp>
        <p:nvSpPr>
          <p:cNvPr id="21" name="Datumsplatzhalter 20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22" name="Foliennummernplatzhalter 21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23" name="Fußzeilenplatzhalter 2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</p:spTree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zwei Inhalte 1/3 zu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noProof="0" smtClean="0"/>
              <a:t>Titelmasterformat durch Klicken bearbeiten</a:t>
            </a:r>
            <a:endParaRPr lang="de-DE" noProof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  <p:custDataLst>
              <p:tags r:id="rId2"/>
            </p:custDataLst>
          </p:nvPr>
        </p:nvSpPr>
        <p:spPr>
          <a:xfrm>
            <a:off x="250825" y="1341437"/>
            <a:ext cx="2736850" cy="4824413"/>
          </a:xfrm>
          <a:prstGeom prst="rect">
            <a:avLst/>
          </a:prstGeom>
        </p:spPr>
        <p:txBody>
          <a:bodyPr/>
          <a:lstStyle>
            <a:lvl1pPr marL="269875" indent="-269875"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  <p:custDataLst>
              <p:tags r:id="rId3"/>
            </p:custDataLst>
          </p:nvPr>
        </p:nvSpPr>
        <p:spPr>
          <a:xfrm>
            <a:off x="3202880" y="1341304"/>
            <a:ext cx="5689600" cy="4824000"/>
          </a:xfrm>
          <a:prstGeom prst="rect">
            <a:avLst/>
          </a:prstGeom>
        </p:spPr>
        <p:txBody>
          <a:bodyPr/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de-DE" noProof="0" smtClean="0"/>
              <a:t>Formatvorlagen des Textmasters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smtClean="0"/>
              <a:t>Autor der Präsentation</a:t>
            </a:r>
            <a:endParaRPr lang="de-DE" dirty="0"/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Rectangle 17"/>
          <p:cNvSpPr>
            <a:spLocks noChangeArrowheads="1"/>
          </p:cNvSpPr>
          <p:nvPr/>
        </p:nvSpPr>
        <p:spPr bwMode="hidden">
          <a:xfrm>
            <a:off x="0" y="1125538"/>
            <a:ext cx="9144000" cy="5732462"/>
          </a:xfrm>
          <a:prstGeom prst="rect">
            <a:avLst/>
          </a:prstGeom>
          <a:solidFill>
            <a:srgbClr val="F4F4F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buFont typeface="Arial" pitchFamily="34" charset="0"/>
              <a:buChar char="•"/>
            </a:pPr>
            <a:endParaRPr lang="de-DE" noProof="0"/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gray">
          <a:xfrm>
            <a:off x="0" y="6308725"/>
            <a:ext cx="9144000" cy="73025"/>
          </a:xfrm>
          <a:prstGeom prst="rect">
            <a:avLst/>
          </a:prstGeom>
          <a:solidFill>
            <a:srgbClr val="A01437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de-DE" sz="3000" kern="1200" noProof="0">
              <a:solidFill>
                <a:srgbClr val="F82B26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034" name="Rectangle 10"/>
          <p:cNvSpPr>
            <a:spLocks noChangeArrowheads="1"/>
          </p:cNvSpPr>
          <p:nvPr/>
        </p:nvSpPr>
        <p:spPr bwMode="gray">
          <a:xfrm>
            <a:off x="0" y="6381750"/>
            <a:ext cx="9144000" cy="478800"/>
          </a:xfrm>
          <a:prstGeom prst="rect">
            <a:avLst/>
          </a:prstGeom>
          <a:solidFill>
            <a:srgbClr val="757677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de-DE" noProof="0"/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50825" y="188913"/>
            <a:ext cx="6840000" cy="790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6800" numCol="1" anchor="b" anchorCtr="0" compatLnSpc="1">
            <a:prstTxWarp prst="textNoShape">
              <a:avLst/>
            </a:prstTxWarp>
          </a:bodyPr>
          <a:lstStyle/>
          <a:p>
            <a:pPr lvl="0"/>
            <a:endParaRPr lang="de-DE" noProof="0" dirty="0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44392" y="1341437"/>
            <a:ext cx="8640762" cy="482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</p:txBody>
      </p:sp>
      <p:sp>
        <p:nvSpPr>
          <p:cNvPr id="1043" name="Rectangle 19"/>
          <p:cNvSpPr>
            <a:spLocks noGrp="1" noChangeArrowheads="1"/>
          </p:cNvSpPr>
          <p:nvPr>
            <p:ph type="ftr" sz="quarter" idx="3"/>
          </p:nvPr>
        </p:nvSpPr>
        <p:spPr bwMode="white">
          <a:xfrm>
            <a:off x="2699792" y="6463924"/>
            <a:ext cx="3744416" cy="14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0" indent="0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Autor der Präsentation</a:t>
            </a:r>
            <a:endParaRPr lang="de-DE" dirty="0"/>
          </a:p>
        </p:txBody>
      </p:sp>
      <p:sp>
        <p:nvSpPr>
          <p:cNvPr id="1051" name="Text Box 27"/>
          <p:cNvSpPr txBox="1">
            <a:spLocks noChangeArrowheads="1"/>
          </p:cNvSpPr>
          <p:nvPr/>
        </p:nvSpPr>
        <p:spPr bwMode="gray">
          <a:xfrm>
            <a:off x="242281" y="6469104"/>
            <a:ext cx="243681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algn="l">
              <a:lnSpc>
                <a:spcPct val="90000"/>
              </a:lnSpc>
            </a:pPr>
            <a:r>
              <a:rPr lang="de-DE" sz="1000" noProof="0" dirty="0">
                <a:solidFill>
                  <a:schemeClr val="bg1"/>
                </a:solidFill>
              </a:rPr>
              <a:t>BDEW Bundesverband der </a:t>
            </a:r>
          </a:p>
          <a:p>
            <a:pPr algn="l">
              <a:lnSpc>
                <a:spcPct val="90000"/>
              </a:lnSpc>
            </a:pPr>
            <a:r>
              <a:rPr lang="de-DE" sz="1000" noProof="0" dirty="0">
                <a:solidFill>
                  <a:schemeClr val="bg1"/>
                </a:solidFill>
              </a:rPr>
              <a:t>Energie- und Wasserwirtschaft e.V.</a:t>
            </a:r>
          </a:p>
        </p:txBody>
      </p:sp>
      <p:sp>
        <p:nvSpPr>
          <p:cNvPr id="1052" name="Rectangle 28"/>
          <p:cNvSpPr>
            <a:spLocks noGrp="1" noChangeArrowheads="1"/>
          </p:cNvSpPr>
          <p:nvPr>
            <p:ph type="dt" sz="half" idx="2"/>
          </p:nvPr>
        </p:nvSpPr>
        <p:spPr bwMode="white">
          <a:xfrm>
            <a:off x="7599007" y="6470475"/>
            <a:ext cx="1296988" cy="14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01.06.2013</a:t>
            </a:r>
            <a:endParaRPr lang="de-DE" noProof="0"/>
          </a:p>
        </p:txBody>
      </p:sp>
      <p:sp>
        <p:nvSpPr>
          <p:cNvPr id="1053" name="Rectangle 29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7597420" y="6601408"/>
            <a:ext cx="1298575" cy="14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DE" noProof="0" smtClean="0"/>
              <a:t>Seite </a:t>
            </a:r>
            <a:fld id="{57282E12-AC30-4C30-91CF-1304F955FEAA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2" name="Group 16"/>
          <p:cNvGrpSpPr/>
          <p:nvPr/>
        </p:nvGrpSpPr>
        <p:grpSpPr>
          <a:xfrm>
            <a:off x="7856538" y="339725"/>
            <a:ext cx="1033462" cy="536575"/>
            <a:chOff x="7856538" y="339725"/>
            <a:chExt cx="1033462" cy="536575"/>
          </a:xfrm>
        </p:grpSpPr>
        <p:sp>
          <p:nvSpPr>
            <p:cNvPr id="1061" name="Freeform 37"/>
            <p:cNvSpPr>
              <a:spLocks noChangeAspect="1"/>
            </p:cNvSpPr>
            <p:nvPr userDrawn="1"/>
          </p:nvSpPr>
          <p:spPr bwMode="auto">
            <a:xfrm>
              <a:off x="8596048" y="442646"/>
              <a:ext cx="293952" cy="22550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869"/>
                </a:cxn>
                <a:cxn ang="0">
                  <a:pos x="523" y="1367"/>
                </a:cxn>
                <a:cxn ang="0">
                  <a:pos x="890" y="1204"/>
                </a:cxn>
                <a:cxn ang="0">
                  <a:pos x="1253" y="1367"/>
                </a:cxn>
                <a:cxn ang="0">
                  <a:pos x="1775" y="869"/>
                </a:cxn>
                <a:cxn ang="0">
                  <a:pos x="1775" y="0"/>
                </a:cxn>
                <a:cxn ang="0">
                  <a:pos x="1461" y="0"/>
                </a:cxn>
                <a:cxn ang="0">
                  <a:pos x="1461" y="877"/>
                </a:cxn>
                <a:cxn ang="0">
                  <a:pos x="1253" y="1076"/>
                </a:cxn>
                <a:cxn ang="0">
                  <a:pos x="1047" y="877"/>
                </a:cxn>
                <a:cxn ang="0">
                  <a:pos x="1047" y="0"/>
                </a:cxn>
                <a:cxn ang="0">
                  <a:pos x="733" y="0"/>
                </a:cxn>
                <a:cxn ang="0">
                  <a:pos x="733" y="877"/>
                </a:cxn>
                <a:cxn ang="0">
                  <a:pos x="523" y="1076"/>
                </a:cxn>
                <a:cxn ang="0">
                  <a:pos x="315" y="877"/>
                </a:cxn>
                <a:cxn ang="0">
                  <a:pos x="315" y="0"/>
                </a:cxn>
                <a:cxn ang="0">
                  <a:pos x="0" y="0"/>
                </a:cxn>
              </a:cxnLst>
              <a:rect l="0" t="0" r="r" b="b"/>
              <a:pathLst>
                <a:path w="1775" h="1367">
                  <a:moveTo>
                    <a:pt x="0" y="0"/>
                  </a:moveTo>
                  <a:lnTo>
                    <a:pt x="0" y="869"/>
                  </a:lnTo>
                  <a:cubicBezTo>
                    <a:pt x="0" y="1145"/>
                    <a:pt x="237" y="1367"/>
                    <a:pt x="523" y="1367"/>
                  </a:cubicBezTo>
                  <a:cubicBezTo>
                    <a:pt x="661" y="1367"/>
                    <a:pt x="820" y="1293"/>
                    <a:pt x="890" y="1204"/>
                  </a:cubicBezTo>
                  <a:cubicBezTo>
                    <a:pt x="956" y="1293"/>
                    <a:pt x="1115" y="1367"/>
                    <a:pt x="1253" y="1367"/>
                  </a:cubicBezTo>
                  <a:cubicBezTo>
                    <a:pt x="1541" y="1367"/>
                    <a:pt x="1775" y="1145"/>
                    <a:pt x="1775" y="869"/>
                  </a:cubicBezTo>
                  <a:lnTo>
                    <a:pt x="1775" y="0"/>
                  </a:lnTo>
                  <a:lnTo>
                    <a:pt x="1461" y="0"/>
                  </a:lnTo>
                  <a:lnTo>
                    <a:pt x="1461" y="877"/>
                  </a:lnTo>
                  <a:cubicBezTo>
                    <a:pt x="1461" y="985"/>
                    <a:pt x="1369" y="1076"/>
                    <a:pt x="1253" y="1076"/>
                  </a:cubicBezTo>
                  <a:cubicBezTo>
                    <a:pt x="1142" y="1076"/>
                    <a:pt x="1047" y="985"/>
                    <a:pt x="1047" y="877"/>
                  </a:cubicBezTo>
                  <a:lnTo>
                    <a:pt x="1047" y="0"/>
                  </a:lnTo>
                  <a:lnTo>
                    <a:pt x="733" y="0"/>
                  </a:lnTo>
                  <a:lnTo>
                    <a:pt x="733" y="877"/>
                  </a:lnTo>
                  <a:cubicBezTo>
                    <a:pt x="733" y="985"/>
                    <a:pt x="638" y="1076"/>
                    <a:pt x="523" y="1076"/>
                  </a:cubicBezTo>
                  <a:cubicBezTo>
                    <a:pt x="407" y="1076"/>
                    <a:pt x="315" y="985"/>
                    <a:pt x="315" y="877"/>
                  </a:cubicBezTo>
                  <a:lnTo>
                    <a:pt x="3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01432"/>
            </a:soli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de-DE" noProof="0"/>
            </a:p>
          </p:txBody>
        </p:sp>
        <p:sp>
          <p:nvSpPr>
            <p:cNvPr id="1062" name="Freeform 38"/>
            <p:cNvSpPr>
              <a:spLocks noChangeAspect="1"/>
            </p:cNvSpPr>
            <p:nvPr userDrawn="1"/>
          </p:nvSpPr>
          <p:spPr bwMode="auto">
            <a:xfrm>
              <a:off x="8348387" y="435707"/>
              <a:ext cx="230301" cy="230126"/>
            </a:xfrm>
            <a:custGeom>
              <a:avLst/>
              <a:gdLst/>
              <a:ahLst/>
              <a:cxnLst>
                <a:cxn ang="0">
                  <a:pos x="1384" y="800"/>
                </a:cxn>
                <a:cxn ang="0">
                  <a:pos x="1391" y="696"/>
                </a:cxn>
                <a:cxn ang="0">
                  <a:pos x="697" y="0"/>
                </a:cxn>
                <a:cxn ang="0">
                  <a:pos x="0" y="696"/>
                </a:cxn>
                <a:cxn ang="0">
                  <a:pos x="697" y="1392"/>
                </a:cxn>
                <a:cxn ang="0">
                  <a:pos x="1344" y="948"/>
                </a:cxn>
                <a:cxn ang="0">
                  <a:pos x="1017" y="948"/>
                </a:cxn>
                <a:cxn ang="0">
                  <a:pos x="697" y="1107"/>
                </a:cxn>
                <a:cxn ang="0">
                  <a:pos x="286" y="696"/>
                </a:cxn>
                <a:cxn ang="0">
                  <a:pos x="697" y="288"/>
                </a:cxn>
                <a:cxn ang="0">
                  <a:pos x="1062" y="515"/>
                </a:cxn>
                <a:cxn ang="0">
                  <a:pos x="566" y="515"/>
                </a:cxn>
                <a:cxn ang="0">
                  <a:pos x="566" y="800"/>
                </a:cxn>
                <a:cxn ang="0">
                  <a:pos x="1384" y="800"/>
                </a:cxn>
              </a:cxnLst>
              <a:rect l="0" t="0" r="r" b="b"/>
              <a:pathLst>
                <a:path w="1391" h="1392">
                  <a:moveTo>
                    <a:pt x="1384" y="800"/>
                  </a:moveTo>
                  <a:cubicBezTo>
                    <a:pt x="1390" y="766"/>
                    <a:pt x="1391" y="732"/>
                    <a:pt x="1391" y="696"/>
                  </a:cubicBezTo>
                  <a:cubicBezTo>
                    <a:pt x="1391" y="312"/>
                    <a:pt x="1081" y="0"/>
                    <a:pt x="697" y="0"/>
                  </a:cubicBezTo>
                  <a:cubicBezTo>
                    <a:pt x="310" y="0"/>
                    <a:pt x="0" y="312"/>
                    <a:pt x="0" y="696"/>
                  </a:cubicBezTo>
                  <a:cubicBezTo>
                    <a:pt x="0" y="1082"/>
                    <a:pt x="310" y="1392"/>
                    <a:pt x="697" y="1392"/>
                  </a:cubicBezTo>
                  <a:cubicBezTo>
                    <a:pt x="992" y="1392"/>
                    <a:pt x="1244" y="1207"/>
                    <a:pt x="1344" y="948"/>
                  </a:cubicBezTo>
                  <a:lnTo>
                    <a:pt x="1017" y="948"/>
                  </a:lnTo>
                  <a:cubicBezTo>
                    <a:pt x="943" y="1044"/>
                    <a:pt x="827" y="1107"/>
                    <a:pt x="697" y="1107"/>
                  </a:cubicBezTo>
                  <a:cubicBezTo>
                    <a:pt x="469" y="1107"/>
                    <a:pt x="286" y="923"/>
                    <a:pt x="286" y="696"/>
                  </a:cubicBezTo>
                  <a:cubicBezTo>
                    <a:pt x="286" y="471"/>
                    <a:pt x="469" y="288"/>
                    <a:pt x="697" y="288"/>
                  </a:cubicBezTo>
                  <a:cubicBezTo>
                    <a:pt x="856" y="288"/>
                    <a:pt x="994" y="381"/>
                    <a:pt x="1062" y="515"/>
                  </a:cubicBezTo>
                  <a:lnTo>
                    <a:pt x="566" y="515"/>
                  </a:lnTo>
                  <a:lnTo>
                    <a:pt x="566" y="800"/>
                  </a:lnTo>
                  <a:lnTo>
                    <a:pt x="1384" y="800"/>
                  </a:lnTo>
                  <a:close/>
                </a:path>
              </a:pathLst>
            </a:custGeom>
            <a:solidFill>
              <a:srgbClr val="A01432"/>
            </a:soli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de-DE" noProof="0"/>
            </a:p>
          </p:txBody>
        </p:sp>
        <p:sp>
          <p:nvSpPr>
            <p:cNvPr id="1063" name="Freeform 39"/>
            <p:cNvSpPr>
              <a:spLocks noChangeAspect="1" noEditPoints="1"/>
            </p:cNvSpPr>
            <p:nvPr userDrawn="1"/>
          </p:nvSpPr>
          <p:spPr bwMode="auto">
            <a:xfrm>
              <a:off x="8100727" y="339725"/>
              <a:ext cx="231458" cy="328421"/>
            </a:xfrm>
            <a:custGeom>
              <a:avLst/>
              <a:gdLst/>
              <a:ahLst/>
              <a:cxnLst>
                <a:cxn ang="0">
                  <a:pos x="785" y="1685"/>
                </a:cxn>
                <a:cxn ang="0">
                  <a:pos x="690" y="1699"/>
                </a:cxn>
                <a:cxn ang="0">
                  <a:pos x="537" y="1665"/>
                </a:cxn>
                <a:cxn ang="0">
                  <a:pos x="284" y="1287"/>
                </a:cxn>
                <a:cxn ang="0">
                  <a:pos x="694" y="877"/>
                </a:cxn>
                <a:cxn ang="0">
                  <a:pos x="1104" y="1287"/>
                </a:cxn>
                <a:cxn ang="0">
                  <a:pos x="785" y="1685"/>
                </a:cxn>
                <a:cxn ang="0">
                  <a:pos x="1093" y="0"/>
                </a:cxn>
                <a:cxn ang="0">
                  <a:pos x="1093" y="739"/>
                </a:cxn>
                <a:cxn ang="0">
                  <a:pos x="690" y="601"/>
                </a:cxn>
                <a:cxn ang="0">
                  <a:pos x="0" y="1292"/>
                </a:cxn>
                <a:cxn ang="0">
                  <a:pos x="690" y="1984"/>
                </a:cxn>
                <a:cxn ang="0">
                  <a:pos x="1093" y="1853"/>
                </a:cxn>
                <a:cxn ang="0">
                  <a:pos x="1093" y="1969"/>
                </a:cxn>
                <a:cxn ang="0">
                  <a:pos x="1392" y="1969"/>
                </a:cxn>
                <a:cxn ang="0">
                  <a:pos x="1392" y="0"/>
                </a:cxn>
                <a:cxn ang="0">
                  <a:pos x="1093" y="0"/>
                </a:cxn>
              </a:cxnLst>
              <a:rect l="0" t="0" r="r" b="b"/>
              <a:pathLst>
                <a:path w="1392" h="1984">
                  <a:moveTo>
                    <a:pt x="785" y="1685"/>
                  </a:moveTo>
                  <a:cubicBezTo>
                    <a:pt x="756" y="1693"/>
                    <a:pt x="724" y="1699"/>
                    <a:pt x="690" y="1699"/>
                  </a:cubicBezTo>
                  <a:cubicBezTo>
                    <a:pt x="635" y="1699"/>
                    <a:pt x="583" y="1687"/>
                    <a:pt x="537" y="1665"/>
                  </a:cubicBezTo>
                  <a:cubicBezTo>
                    <a:pt x="388" y="1604"/>
                    <a:pt x="284" y="1457"/>
                    <a:pt x="284" y="1287"/>
                  </a:cubicBezTo>
                  <a:cubicBezTo>
                    <a:pt x="284" y="1060"/>
                    <a:pt x="467" y="877"/>
                    <a:pt x="694" y="877"/>
                  </a:cubicBezTo>
                  <a:cubicBezTo>
                    <a:pt x="921" y="877"/>
                    <a:pt x="1104" y="1060"/>
                    <a:pt x="1104" y="1287"/>
                  </a:cubicBezTo>
                  <a:cubicBezTo>
                    <a:pt x="1104" y="1481"/>
                    <a:pt x="968" y="1644"/>
                    <a:pt x="785" y="1685"/>
                  </a:cubicBezTo>
                  <a:close/>
                  <a:moveTo>
                    <a:pt x="1093" y="0"/>
                  </a:moveTo>
                  <a:lnTo>
                    <a:pt x="1093" y="739"/>
                  </a:lnTo>
                  <a:cubicBezTo>
                    <a:pt x="981" y="654"/>
                    <a:pt x="843" y="601"/>
                    <a:pt x="690" y="601"/>
                  </a:cubicBezTo>
                  <a:cubicBezTo>
                    <a:pt x="310" y="601"/>
                    <a:pt x="0" y="911"/>
                    <a:pt x="0" y="1292"/>
                  </a:cubicBezTo>
                  <a:cubicBezTo>
                    <a:pt x="0" y="1674"/>
                    <a:pt x="310" y="1984"/>
                    <a:pt x="690" y="1984"/>
                  </a:cubicBezTo>
                  <a:cubicBezTo>
                    <a:pt x="843" y="1984"/>
                    <a:pt x="981" y="1935"/>
                    <a:pt x="1093" y="1853"/>
                  </a:cubicBezTo>
                  <a:lnTo>
                    <a:pt x="1093" y="1969"/>
                  </a:lnTo>
                  <a:lnTo>
                    <a:pt x="1392" y="1969"/>
                  </a:lnTo>
                  <a:lnTo>
                    <a:pt x="1392" y="0"/>
                  </a:lnTo>
                  <a:lnTo>
                    <a:pt x="1093" y="0"/>
                  </a:lnTo>
                  <a:close/>
                </a:path>
              </a:pathLst>
            </a:custGeom>
            <a:solidFill>
              <a:srgbClr val="A01432"/>
            </a:soli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de-DE" noProof="0"/>
            </a:p>
          </p:txBody>
        </p:sp>
        <p:sp>
          <p:nvSpPr>
            <p:cNvPr id="1064" name="Freeform 40"/>
            <p:cNvSpPr>
              <a:spLocks noChangeAspect="1" noEditPoints="1"/>
            </p:cNvSpPr>
            <p:nvPr userDrawn="1"/>
          </p:nvSpPr>
          <p:spPr bwMode="auto">
            <a:xfrm>
              <a:off x="7856538" y="339725"/>
              <a:ext cx="230301" cy="328421"/>
            </a:xfrm>
            <a:custGeom>
              <a:avLst/>
              <a:gdLst/>
              <a:ahLst/>
              <a:cxnLst>
                <a:cxn ang="0">
                  <a:pos x="1709" y="3329"/>
                </a:cxn>
                <a:cxn ang="0">
                  <a:pos x="1399" y="3397"/>
                </a:cxn>
                <a:cxn ang="0">
                  <a:pos x="1210" y="3370"/>
                </a:cxn>
                <a:cxn ang="0">
                  <a:pos x="575" y="2573"/>
                </a:cxn>
                <a:cxn ang="0">
                  <a:pos x="1395" y="1753"/>
                </a:cxn>
                <a:cxn ang="0">
                  <a:pos x="2216" y="2573"/>
                </a:cxn>
                <a:cxn ang="0">
                  <a:pos x="1709" y="3329"/>
                </a:cxn>
                <a:cxn ang="0">
                  <a:pos x="1399" y="1202"/>
                </a:cxn>
                <a:cxn ang="0">
                  <a:pos x="597" y="1478"/>
                </a:cxn>
                <a:cxn ang="0">
                  <a:pos x="597" y="0"/>
                </a:cxn>
                <a:cxn ang="0">
                  <a:pos x="0" y="0"/>
                </a:cxn>
                <a:cxn ang="0">
                  <a:pos x="0" y="3937"/>
                </a:cxn>
                <a:cxn ang="0">
                  <a:pos x="597" y="3937"/>
                </a:cxn>
                <a:cxn ang="0">
                  <a:pos x="597" y="3706"/>
                </a:cxn>
                <a:cxn ang="0">
                  <a:pos x="1399" y="3967"/>
                </a:cxn>
                <a:cxn ang="0">
                  <a:pos x="2783" y="2584"/>
                </a:cxn>
                <a:cxn ang="0">
                  <a:pos x="1399" y="1202"/>
                </a:cxn>
              </a:cxnLst>
              <a:rect l="0" t="0" r="r" b="b"/>
              <a:pathLst>
                <a:path w="2783" h="3967">
                  <a:moveTo>
                    <a:pt x="1709" y="3329"/>
                  </a:moveTo>
                  <a:cubicBezTo>
                    <a:pt x="1615" y="3374"/>
                    <a:pt x="1512" y="3397"/>
                    <a:pt x="1399" y="3397"/>
                  </a:cubicBezTo>
                  <a:cubicBezTo>
                    <a:pt x="1335" y="3397"/>
                    <a:pt x="1270" y="3385"/>
                    <a:pt x="1210" y="3370"/>
                  </a:cubicBezTo>
                  <a:cubicBezTo>
                    <a:pt x="847" y="3287"/>
                    <a:pt x="575" y="2962"/>
                    <a:pt x="575" y="2573"/>
                  </a:cubicBezTo>
                  <a:cubicBezTo>
                    <a:pt x="575" y="2120"/>
                    <a:pt x="941" y="1753"/>
                    <a:pt x="1395" y="1753"/>
                  </a:cubicBezTo>
                  <a:cubicBezTo>
                    <a:pt x="1849" y="1753"/>
                    <a:pt x="2216" y="2120"/>
                    <a:pt x="2216" y="2573"/>
                  </a:cubicBezTo>
                  <a:cubicBezTo>
                    <a:pt x="2216" y="2913"/>
                    <a:pt x="2008" y="3208"/>
                    <a:pt x="1709" y="3329"/>
                  </a:cubicBezTo>
                  <a:close/>
                  <a:moveTo>
                    <a:pt x="1399" y="1202"/>
                  </a:moveTo>
                  <a:cubicBezTo>
                    <a:pt x="1093" y="1202"/>
                    <a:pt x="820" y="1308"/>
                    <a:pt x="597" y="1478"/>
                  </a:cubicBezTo>
                  <a:lnTo>
                    <a:pt x="597" y="0"/>
                  </a:lnTo>
                  <a:lnTo>
                    <a:pt x="0" y="0"/>
                  </a:lnTo>
                  <a:lnTo>
                    <a:pt x="0" y="3937"/>
                  </a:lnTo>
                  <a:lnTo>
                    <a:pt x="597" y="3937"/>
                  </a:lnTo>
                  <a:lnTo>
                    <a:pt x="597" y="3706"/>
                  </a:lnTo>
                  <a:cubicBezTo>
                    <a:pt x="820" y="3869"/>
                    <a:pt x="1093" y="3967"/>
                    <a:pt x="1399" y="3967"/>
                  </a:cubicBezTo>
                  <a:cubicBezTo>
                    <a:pt x="2163" y="3967"/>
                    <a:pt x="2783" y="3348"/>
                    <a:pt x="2783" y="2584"/>
                  </a:cubicBezTo>
                  <a:cubicBezTo>
                    <a:pt x="2783" y="1821"/>
                    <a:pt x="2163" y="1202"/>
                    <a:pt x="1399" y="1202"/>
                  </a:cubicBezTo>
                  <a:close/>
                </a:path>
              </a:pathLst>
            </a:custGeom>
            <a:solidFill>
              <a:srgbClr val="A01432"/>
            </a:soli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de-DE" noProof="0"/>
            </a:p>
          </p:txBody>
        </p:sp>
        <p:sp>
          <p:nvSpPr>
            <p:cNvPr id="1065" name="Freeform 41"/>
            <p:cNvSpPr>
              <a:spLocks noChangeAspect="1" noEditPoints="1"/>
            </p:cNvSpPr>
            <p:nvPr userDrawn="1"/>
          </p:nvSpPr>
          <p:spPr bwMode="auto">
            <a:xfrm>
              <a:off x="7856538" y="780318"/>
              <a:ext cx="1033462" cy="95982"/>
            </a:xfrm>
            <a:custGeom>
              <a:avLst/>
              <a:gdLst/>
              <a:ahLst/>
              <a:cxnLst>
                <a:cxn ang="0">
                  <a:pos x="227" y="276"/>
                </a:cxn>
                <a:cxn ang="0">
                  <a:pos x="255" y="45"/>
                </a:cxn>
                <a:cxn ang="0">
                  <a:pos x="591" y="246"/>
                </a:cxn>
                <a:cxn ang="0">
                  <a:pos x="323" y="150"/>
                </a:cxn>
                <a:cxn ang="0">
                  <a:pos x="474" y="216"/>
                </a:cxn>
                <a:cxn ang="0">
                  <a:pos x="792" y="145"/>
                </a:cxn>
                <a:cxn ang="0">
                  <a:pos x="799" y="397"/>
                </a:cxn>
                <a:cxn ang="0">
                  <a:pos x="746" y="273"/>
                </a:cxn>
                <a:cxn ang="0">
                  <a:pos x="1079" y="182"/>
                </a:cxn>
                <a:cxn ang="0">
                  <a:pos x="996" y="453"/>
                </a:cxn>
                <a:cxn ang="0">
                  <a:pos x="1175" y="152"/>
                </a:cxn>
                <a:cxn ang="0">
                  <a:pos x="1218" y="301"/>
                </a:cxn>
                <a:cxn ang="0">
                  <a:pos x="1407" y="482"/>
                </a:cxn>
                <a:cxn ang="0">
                  <a:pos x="1489" y="497"/>
                </a:cxn>
                <a:cxn ang="0">
                  <a:pos x="1347" y="386"/>
                </a:cxn>
                <a:cxn ang="0">
                  <a:pos x="1660" y="49"/>
                </a:cxn>
                <a:cxn ang="0">
                  <a:pos x="1651" y="453"/>
                </a:cxn>
                <a:cxn ang="0">
                  <a:pos x="1651" y="453"/>
                </a:cxn>
                <a:cxn ang="0">
                  <a:pos x="1978" y="429"/>
                </a:cxn>
                <a:cxn ang="0">
                  <a:pos x="1982" y="295"/>
                </a:cxn>
                <a:cxn ang="0">
                  <a:pos x="2146" y="414"/>
                </a:cxn>
                <a:cxn ang="0">
                  <a:pos x="2799" y="51"/>
                </a:cxn>
                <a:cxn ang="0">
                  <a:pos x="2582" y="45"/>
                </a:cxn>
                <a:cxn ang="0">
                  <a:pos x="2365" y="41"/>
                </a:cxn>
                <a:cxn ang="0">
                  <a:pos x="2537" y="160"/>
                </a:cxn>
                <a:cxn ang="0">
                  <a:pos x="3081" y="453"/>
                </a:cxn>
                <a:cxn ang="0">
                  <a:pos x="2852" y="171"/>
                </a:cxn>
                <a:cxn ang="0">
                  <a:pos x="2862" y="307"/>
                </a:cxn>
                <a:cxn ang="0">
                  <a:pos x="3081" y="453"/>
                </a:cxn>
                <a:cxn ang="0">
                  <a:pos x="2994" y="320"/>
                </a:cxn>
                <a:cxn ang="0">
                  <a:pos x="3257" y="209"/>
                </a:cxn>
                <a:cxn ang="0">
                  <a:pos x="3264" y="340"/>
                </a:cxn>
                <a:cxn ang="0">
                  <a:pos x="3255" y="461"/>
                </a:cxn>
                <a:cxn ang="0">
                  <a:pos x="3532" y="209"/>
                </a:cxn>
                <a:cxn ang="0">
                  <a:pos x="3538" y="340"/>
                </a:cxn>
                <a:cxn ang="0">
                  <a:pos x="3529" y="461"/>
                </a:cxn>
                <a:cxn ang="0">
                  <a:pos x="3821" y="461"/>
                </a:cxn>
                <a:cxn ang="0">
                  <a:pos x="3957" y="320"/>
                </a:cxn>
                <a:cxn ang="0">
                  <a:pos x="3876" y="273"/>
                </a:cxn>
                <a:cxn ang="0">
                  <a:pos x="4107" y="150"/>
                </a:cxn>
                <a:cxn ang="0">
                  <a:pos x="4112" y="241"/>
                </a:cxn>
                <a:cxn ang="0">
                  <a:pos x="4241" y="369"/>
                </a:cxn>
                <a:cxn ang="0">
                  <a:pos x="4749" y="378"/>
                </a:cxn>
                <a:cxn ang="0">
                  <a:pos x="4749" y="453"/>
                </a:cxn>
                <a:cxn ang="0">
                  <a:pos x="5051" y="429"/>
                </a:cxn>
                <a:cxn ang="0">
                  <a:pos x="5057" y="295"/>
                </a:cxn>
                <a:cxn ang="0">
                  <a:pos x="5406" y="301"/>
                </a:cxn>
                <a:cxn ang="0">
                  <a:pos x="5130" y="19"/>
                </a:cxn>
                <a:cxn ang="0">
                  <a:pos x="5291" y="461"/>
                </a:cxn>
                <a:cxn ang="0">
                  <a:pos x="5213" y="233"/>
                </a:cxn>
                <a:cxn ang="0">
                  <a:pos x="5467" y="303"/>
                </a:cxn>
                <a:cxn ang="0">
                  <a:pos x="5552" y="320"/>
                </a:cxn>
                <a:cxn ang="0">
                  <a:pos x="5599" y="203"/>
                </a:cxn>
                <a:cxn ang="0">
                  <a:pos x="5977" y="145"/>
                </a:cxn>
                <a:cxn ang="0">
                  <a:pos x="5801" y="453"/>
                </a:cxn>
                <a:cxn ang="0">
                  <a:pos x="5984" y="453"/>
                </a:cxn>
                <a:cxn ang="0">
                  <a:pos x="6184" y="461"/>
                </a:cxn>
              </a:cxnLst>
              <a:rect l="0" t="0" r="r" b="b"/>
              <a:pathLst>
                <a:path w="6233" h="583">
                  <a:moveTo>
                    <a:pt x="261" y="453"/>
                  </a:moveTo>
                  <a:lnTo>
                    <a:pt x="261" y="382"/>
                  </a:lnTo>
                  <a:lnTo>
                    <a:pt x="83" y="382"/>
                  </a:lnTo>
                  <a:lnTo>
                    <a:pt x="83" y="276"/>
                  </a:lnTo>
                  <a:lnTo>
                    <a:pt x="227" y="276"/>
                  </a:lnTo>
                  <a:lnTo>
                    <a:pt x="227" y="207"/>
                  </a:lnTo>
                  <a:lnTo>
                    <a:pt x="83" y="207"/>
                  </a:lnTo>
                  <a:lnTo>
                    <a:pt x="83" y="116"/>
                  </a:lnTo>
                  <a:lnTo>
                    <a:pt x="248" y="116"/>
                  </a:lnTo>
                  <a:lnTo>
                    <a:pt x="255" y="45"/>
                  </a:lnTo>
                  <a:lnTo>
                    <a:pt x="0" y="45"/>
                  </a:lnTo>
                  <a:lnTo>
                    <a:pt x="0" y="453"/>
                  </a:lnTo>
                  <a:lnTo>
                    <a:pt x="261" y="453"/>
                  </a:lnTo>
                  <a:close/>
                  <a:moveTo>
                    <a:pt x="591" y="453"/>
                  </a:moveTo>
                  <a:lnTo>
                    <a:pt x="591" y="246"/>
                  </a:lnTo>
                  <a:cubicBezTo>
                    <a:pt x="591" y="218"/>
                    <a:pt x="588" y="196"/>
                    <a:pt x="576" y="179"/>
                  </a:cubicBezTo>
                  <a:cubicBezTo>
                    <a:pt x="561" y="158"/>
                    <a:pt x="538" y="145"/>
                    <a:pt x="503" y="145"/>
                  </a:cubicBezTo>
                  <a:cubicBezTo>
                    <a:pt x="459" y="145"/>
                    <a:pt x="416" y="180"/>
                    <a:pt x="404" y="192"/>
                  </a:cubicBezTo>
                  <a:cubicBezTo>
                    <a:pt x="404" y="173"/>
                    <a:pt x="401" y="150"/>
                    <a:pt x="401" y="150"/>
                  </a:cubicBezTo>
                  <a:lnTo>
                    <a:pt x="323" y="150"/>
                  </a:lnTo>
                  <a:cubicBezTo>
                    <a:pt x="323" y="150"/>
                    <a:pt x="327" y="188"/>
                    <a:pt x="327" y="226"/>
                  </a:cubicBezTo>
                  <a:lnTo>
                    <a:pt x="327" y="453"/>
                  </a:lnTo>
                  <a:lnTo>
                    <a:pt x="408" y="453"/>
                  </a:lnTo>
                  <a:lnTo>
                    <a:pt x="408" y="248"/>
                  </a:lnTo>
                  <a:cubicBezTo>
                    <a:pt x="419" y="237"/>
                    <a:pt x="448" y="216"/>
                    <a:pt x="474" y="216"/>
                  </a:cubicBezTo>
                  <a:cubicBezTo>
                    <a:pt x="495" y="216"/>
                    <a:pt x="508" y="220"/>
                    <a:pt x="508" y="254"/>
                  </a:cubicBezTo>
                  <a:lnTo>
                    <a:pt x="508" y="453"/>
                  </a:lnTo>
                  <a:lnTo>
                    <a:pt x="591" y="453"/>
                  </a:lnTo>
                  <a:close/>
                  <a:moveTo>
                    <a:pt x="922" y="295"/>
                  </a:moveTo>
                  <a:cubicBezTo>
                    <a:pt x="922" y="224"/>
                    <a:pt x="895" y="145"/>
                    <a:pt x="792" y="145"/>
                  </a:cubicBezTo>
                  <a:cubicBezTo>
                    <a:pt x="701" y="145"/>
                    <a:pt x="659" y="222"/>
                    <a:pt x="659" y="303"/>
                  </a:cubicBezTo>
                  <a:cubicBezTo>
                    <a:pt x="659" y="359"/>
                    <a:pt x="678" y="461"/>
                    <a:pt x="786" y="461"/>
                  </a:cubicBezTo>
                  <a:cubicBezTo>
                    <a:pt x="869" y="461"/>
                    <a:pt x="916" y="429"/>
                    <a:pt x="916" y="429"/>
                  </a:cubicBezTo>
                  <a:lnTo>
                    <a:pt x="914" y="367"/>
                  </a:lnTo>
                  <a:cubicBezTo>
                    <a:pt x="914" y="367"/>
                    <a:pt x="856" y="397"/>
                    <a:pt x="799" y="397"/>
                  </a:cubicBezTo>
                  <a:cubicBezTo>
                    <a:pt x="763" y="397"/>
                    <a:pt x="746" y="374"/>
                    <a:pt x="746" y="320"/>
                  </a:cubicBezTo>
                  <a:lnTo>
                    <a:pt x="922" y="320"/>
                  </a:lnTo>
                  <a:cubicBezTo>
                    <a:pt x="922" y="320"/>
                    <a:pt x="922" y="301"/>
                    <a:pt x="922" y="295"/>
                  </a:cubicBezTo>
                  <a:moveTo>
                    <a:pt x="841" y="273"/>
                  </a:moveTo>
                  <a:lnTo>
                    <a:pt x="746" y="273"/>
                  </a:lnTo>
                  <a:cubicBezTo>
                    <a:pt x="746" y="248"/>
                    <a:pt x="754" y="203"/>
                    <a:pt x="792" y="203"/>
                  </a:cubicBezTo>
                  <a:cubicBezTo>
                    <a:pt x="835" y="203"/>
                    <a:pt x="841" y="246"/>
                    <a:pt x="841" y="273"/>
                  </a:cubicBezTo>
                  <a:moveTo>
                    <a:pt x="1175" y="152"/>
                  </a:moveTo>
                  <a:cubicBezTo>
                    <a:pt x="1175" y="152"/>
                    <a:pt x="1169" y="147"/>
                    <a:pt x="1139" y="147"/>
                  </a:cubicBezTo>
                  <a:cubicBezTo>
                    <a:pt x="1115" y="147"/>
                    <a:pt x="1092" y="169"/>
                    <a:pt x="1079" y="182"/>
                  </a:cubicBezTo>
                  <a:cubicBezTo>
                    <a:pt x="1077" y="184"/>
                    <a:pt x="1075" y="186"/>
                    <a:pt x="1075" y="186"/>
                  </a:cubicBezTo>
                  <a:cubicBezTo>
                    <a:pt x="1075" y="173"/>
                    <a:pt x="1071" y="150"/>
                    <a:pt x="1071" y="150"/>
                  </a:cubicBezTo>
                  <a:lnTo>
                    <a:pt x="992" y="150"/>
                  </a:lnTo>
                  <a:cubicBezTo>
                    <a:pt x="992" y="150"/>
                    <a:pt x="996" y="188"/>
                    <a:pt x="996" y="226"/>
                  </a:cubicBezTo>
                  <a:lnTo>
                    <a:pt x="996" y="453"/>
                  </a:lnTo>
                  <a:lnTo>
                    <a:pt x="1077" y="453"/>
                  </a:lnTo>
                  <a:lnTo>
                    <a:pt x="1077" y="241"/>
                  </a:lnTo>
                  <a:cubicBezTo>
                    <a:pt x="1098" y="222"/>
                    <a:pt x="1116" y="212"/>
                    <a:pt x="1126" y="212"/>
                  </a:cubicBezTo>
                  <a:cubicBezTo>
                    <a:pt x="1149" y="212"/>
                    <a:pt x="1167" y="216"/>
                    <a:pt x="1167" y="216"/>
                  </a:cubicBezTo>
                  <a:lnTo>
                    <a:pt x="1175" y="152"/>
                  </a:lnTo>
                  <a:close/>
                  <a:moveTo>
                    <a:pt x="1496" y="150"/>
                  </a:moveTo>
                  <a:lnTo>
                    <a:pt x="1419" y="150"/>
                  </a:lnTo>
                  <a:cubicBezTo>
                    <a:pt x="1419" y="150"/>
                    <a:pt x="1415" y="158"/>
                    <a:pt x="1415" y="169"/>
                  </a:cubicBezTo>
                  <a:cubicBezTo>
                    <a:pt x="1405" y="164"/>
                    <a:pt x="1377" y="145"/>
                    <a:pt x="1341" y="145"/>
                  </a:cubicBezTo>
                  <a:cubicBezTo>
                    <a:pt x="1256" y="145"/>
                    <a:pt x="1218" y="211"/>
                    <a:pt x="1218" y="301"/>
                  </a:cubicBezTo>
                  <a:cubicBezTo>
                    <a:pt x="1218" y="359"/>
                    <a:pt x="1237" y="455"/>
                    <a:pt x="1326" y="455"/>
                  </a:cubicBezTo>
                  <a:cubicBezTo>
                    <a:pt x="1371" y="455"/>
                    <a:pt x="1405" y="419"/>
                    <a:pt x="1411" y="412"/>
                  </a:cubicBezTo>
                  <a:cubicBezTo>
                    <a:pt x="1411" y="412"/>
                    <a:pt x="1409" y="431"/>
                    <a:pt x="1409" y="440"/>
                  </a:cubicBezTo>
                  <a:lnTo>
                    <a:pt x="1409" y="459"/>
                  </a:lnTo>
                  <a:cubicBezTo>
                    <a:pt x="1409" y="466"/>
                    <a:pt x="1409" y="476"/>
                    <a:pt x="1407" y="482"/>
                  </a:cubicBezTo>
                  <a:cubicBezTo>
                    <a:pt x="1402" y="500"/>
                    <a:pt x="1385" y="510"/>
                    <a:pt x="1351" y="510"/>
                  </a:cubicBezTo>
                  <a:cubicBezTo>
                    <a:pt x="1288" y="510"/>
                    <a:pt x="1235" y="487"/>
                    <a:pt x="1235" y="487"/>
                  </a:cubicBezTo>
                  <a:lnTo>
                    <a:pt x="1234" y="559"/>
                  </a:lnTo>
                  <a:cubicBezTo>
                    <a:pt x="1234" y="559"/>
                    <a:pt x="1279" y="583"/>
                    <a:pt x="1351" y="583"/>
                  </a:cubicBezTo>
                  <a:cubicBezTo>
                    <a:pt x="1426" y="583"/>
                    <a:pt x="1475" y="553"/>
                    <a:pt x="1489" y="497"/>
                  </a:cubicBezTo>
                  <a:cubicBezTo>
                    <a:pt x="1490" y="485"/>
                    <a:pt x="1492" y="463"/>
                    <a:pt x="1492" y="448"/>
                  </a:cubicBezTo>
                  <a:lnTo>
                    <a:pt x="1492" y="226"/>
                  </a:lnTo>
                  <a:cubicBezTo>
                    <a:pt x="1492" y="190"/>
                    <a:pt x="1496" y="150"/>
                    <a:pt x="1496" y="150"/>
                  </a:cubicBezTo>
                  <a:moveTo>
                    <a:pt x="1409" y="352"/>
                  </a:moveTo>
                  <a:cubicBezTo>
                    <a:pt x="1385" y="380"/>
                    <a:pt x="1362" y="386"/>
                    <a:pt x="1347" y="386"/>
                  </a:cubicBezTo>
                  <a:cubicBezTo>
                    <a:pt x="1309" y="386"/>
                    <a:pt x="1302" y="329"/>
                    <a:pt x="1302" y="301"/>
                  </a:cubicBezTo>
                  <a:cubicBezTo>
                    <a:pt x="1302" y="265"/>
                    <a:pt x="1305" y="211"/>
                    <a:pt x="1353" y="211"/>
                  </a:cubicBezTo>
                  <a:cubicBezTo>
                    <a:pt x="1370" y="211"/>
                    <a:pt x="1387" y="216"/>
                    <a:pt x="1409" y="227"/>
                  </a:cubicBezTo>
                  <a:lnTo>
                    <a:pt x="1409" y="352"/>
                  </a:lnTo>
                  <a:close/>
                  <a:moveTo>
                    <a:pt x="1660" y="49"/>
                  </a:moveTo>
                  <a:cubicBezTo>
                    <a:pt x="1660" y="24"/>
                    <a:pt x="1642" y="0"/>
                    <a:pt x="1611" y="0"/>
                  </a:cubicBezTo>
                  <a:cubicBezTo>
                    <a:pt x="1579" y="0"/>
                    <a:pt x="1562" y="22"/>
                    <a:pt x="1562" y="49"/>
                  </a:cubicBezTo>
                  <a:cubicBezTo>
                    <a:pt x="1562" y="71"/>
                    <a:pt x="1579" y="96"/>
                    <a:pt x="1611" y="96"/>
                  </a:cubicBezTo>
                  <a:cubicBezTo>
                    <a:pt x="1642" y="96"/>
                    <a:pt x="1660" y="71"/>
                    <a:pt x="1660" y="49"/>
                  </a:cubicBezTo>
                  <a:moveTo>
                    <a:pt x="1651" y="453"/>
                  </a:moveTo>
                  <a:lnTo>
                    <a:pt x="1651" y="216"/>
                  </a:lnTo>
                  <a:cubicBezTo>
                    <a:pt x="1651" y="190"/>
                    <a:pt x="1645" y="150"/>
                    <a:pt x="1645" y="150"/>
                  </a:cubicBezTo>
                  <a:lnTo>
                    <a:pt x="1570" y="150"/>
                  </a:lnTo>
                  <a:lnTo>
                    <a:pt x="1570" y="453"/>
                  </a:lnTo>
                  <a:lnTo>
                    <a:pt x="1651" y="453"/>
                  </a:lnTo>
                  <a:close/>
                  <a:moveTo>
                    <a:pt x="1982" y="295"/>
                  </a:moveTo>
                  <a:cubicBezTo>
                    <a:pt x="1982" y="224"/>
                    <a:pt x="1955" y="145"/>
                    <a:pt x="1853" y="145"/>
                  </a:cubicBezTo>
                  <a:cubicBezTo>
                    <a:pt x="1762" y="145"/>
                    <a:pt x="1721" y="222"/>
                    <a:pt x="1721" y="303"/>
                  </a:cubicBezTo>
                  <a:cubicBezTo>
                    <a:pt x="1721" y="359"/>
                    <a:pt x="1738" y="461"/>
                    <a:pt x="1847" y="461"/>
                  </a:cubicBezTo>
                  <a:cubicBezTo>
                    <a:pt x="1929" y="461"/>
                    <a:pt x="1978" y="429"/>
                    <a:pt x="1978" y="429"/>
                  </a:cubicBezTo>
                  <a:lnTo>
                    <a:pt x="1976" y="367"/>
                  </a:lnTo>
                  <a:cubicBezTo>
                    <a:pt x="1976" y="367"/>
                    <a:pt x="1917" y="397"/>
                    <a:pt x="1861" y="397"/>
                  </a:cubicBezTo>
                  <a:cubicBezTo>
                    <a:pt x="1825" y="397"/>
                    <a:pt x="1806" y="374"/>
                    <a:pt x="1806" y="320"/>
                  </a:cubicBezTo>
                  <a:lnTo>
                    <a:pt x="1982" y="320"/>
                  </a:lnTo>
                  <a:cubicBezTo>
                    <a:pt x="1982" y="320"/>
                    <a:pt x="1982" y="301"/>
                    <a:pt x="1982" y="295"/>
                  </a:cubicBezTo>
                  <a:moveTo>
                    <a:pt x="1900" y="273"/>
                  </a:moveTo>
                  <a:lnTo>
                    <a:pt x="1808" y="273"/>
                  </a:lnTo>
                  <a:cubicBezTo>
                    <a:pt x="1808" y="248"/>
                    <a:pt x="1813" y="203"/>
                    <a:pt x="1853" y="203"/>
                  </a:cubicBezTo>
                  <a:cubicBezTo>
                    <a:pt x="1895" y="203"/>
                    <a:pt x="1900" y="246"/>
                    <a:pt x="1900" y="273"/>
                  </a:cubicBezTo>
                  <a:moveTo>
                    <a:pt x="2146" y="414"/>
                  </a:moveTo>
                  <a:cubicBezTo>
                    <a:pt x="2146" y="393"/>
                    <a:pt x="2129" y="369"/>
                    <a:pt x="2097" y="369"/>
                  </a:cubicBezTo>
                  <a:cubicBezTo>
                    <a:pt x="2065" y="369"/>
                    <a:pt x="2046" y="391"/>
                    <a:pt x="2046" y="414"/>
                  </a:cubicBezTo>
                  <a:cubicBezTo>
                    <a:pt x="2046" y="438"/>
                    <a:pt x="2065" y="461"/>
                    <a:pt x="2097" y="461"/>
                  </a:cubicBezTo>
                  <a:cubicBezTo>
                    <a:pt x="2129" y="461"/>
                    <a:pt x="2146" y="436"/>
                    <a:pt x="2146" y="414"/>
                  </a:cubicBezTo>
                  <a:moveTo>
                    <a:pt x="2799" y="51"/>
                  </a:moveTo>
                  <a:lnTo>
                    <a:pt x="2714" y="45"/>
                  </a:lnTo>
                  <a:lnTo>
                    <a:pt x="2665" y="243"/>
                  </a:lnTo>
                  <a:cubicBezTo>
                    <a:pt x="2658" y="273"/>
                    <a:pt x="2648" y="331"/>
                    <a:pt x="2646" y="342"/>
                  </a:cubicBezTo>
                  <a:cubicBezTo>
                    <a:pt x="2645" y="331"/>
                    <a:pt x="2633" y="273"/>
                    <a:pt x="2628" y="243"/>
                  </a:cubicBezTo>
                  <a:lnTo>
                    <a:pt x="2582" y="45"/>
                  </a:lnTo>
                  <a:lnTo>
                    <a:pt x="2493" y="45"/>
                  </a:lnTo>
                  <a:lnTo>
                    <a:pt x="2448" y="243"/>
                  </a:lnTo>
                  <a:cubicBezTo>
                    <a:pt x="2441" y="273"/>
                    <a:pt x="2433" y="329"/>
                    <a:pt x="2431" y="340"/>
                  </a:cubicBezTo>
                  <a:cubicBezTo>
                    <a:pt x="2427" y="327"/>
                    <a:pt x="2418" y="273"/>
                    <a:pt x="2412" y="243"/>
                  </a:cubicBezTo>
                  <a:lnTo>
                    <a:pt x="2365" y="41"/>
                  </a:lnTo>
                  <a:lnTo>
                    <a:pt x="2276" y="45"/>
                  </a:lnTo>
                  <a:lnTo>
                    <a:pt x="2384" y="453"/>
                  </a:lnTo>
                  <a:lnTo>
                    <a:pt x="2473" y="453"/>
                  </a:lnTo>
                  <a:lnTo>
                    <a:pt x="2516" y="265"/>
                  </a:lnTo>
                  <a:cubicBezTo>
                    <a:pt x="2522" y="237"/>
                    <a:pt x="2537" y="160"/>
                    <a:pt x="2537" y="160"/>
                  </a:cubicBezTo>
                  <a:cubicBezTo>
                    <a:pt x="2537" y="160"/>
                    <a:pt x="2550" y="235"/>
                    <a:pt x="2558" y="265"/>
                  </a:cubicBezTo>
                  <a:lnTo>
                    <a:pt x="2597" y="453"/>
                  </a:lnTo>
                  <a:lnTo>
                    <a:pt x="2690" y="453"/>
                  </a:lnTo>
                  <a:lnTo>
                    <a:pt x="2799" y="51"/>
                  </a:lnTo>
                  <a:close/>
                  <a:moveTo>
                    <a:pt x="3081" y="453"/>
                  </a:moveTo>
                  <a:cubicBezTo>
                    <a:pt x="3081" y="453"/>
                    <a:pt x="3077" y="425"/>
                    <a:pt x="3077" y="391"/>
                  </a:cubicBezTo>
                  <a:lnTo>
                    <a:pt x="3077" y="246"/>
                  </a:lnTo>
                  <a:cubicBezTo>
                    <a:pt x="3077" y="216"/>
                    <a:pt x="3073" y="192"/>
                    <a:pt x="3058" y="173"/>
                  </a:cubicBezTo>
                  <a:cubicBezTo>
                    <a:pt x="3043" y="156"/>
                    <a:pt x="3017" y="145"/>
                    <a:pt x="2979" y="145"/>
                  </a:cubicBezTo>
                  <a:cubicBezTo>
                    <a:pt x="2915" y="145"/>
                    <a:pt x="2852" y="171"/>
                    <a:pt x="2852" y="171"/>
                  </a:cubicBezTo>
                  <a:lnTo>
                    <a:pt x="2858" y="235"/>
                  </a:lnTo>
                  <a:cubicBezTo>
                    <a:pt x="2879" y="224"/>
                    <a:pt x="2920" y="207"/>
                    <a:pt x="2962" y="207"/>
                  </a:cubicBezTo>
                  <a:cubicBezTo>
                    <a:pt x="2986" y="207"/>
                    <a:pt x="2994" y="222"/>
                    <a:pt x="2994" y="244"/>
                  </a:cubicBezTo>
                  <a:lnTo>
                    <a:pt x="2994" y="275"/>
                  </a:lnTo>
                  <a:cubicBezTo>
                    <a:pt x="2956" y="275"/>
                    <a:pt x="2896" y="280"/>
                    <a:pt x="2862" y="307"/>
                  </a:cubicBezTo>
                  <a:cubicBezTo>
                    <a:pt x="2843" y="322"/>
                    <a:pt x="2832" y="340"/>
                    <a:pt x="2832" y="367"/>
                  </a:cubicBezTo>
                  <a:cubicBezTo>
                    <a:pt x="2832" y="406"/>
                    <a:pt x="2852" y="461"/>
                    <a:pt x="2918" y="461"/>
                  </a:cubicBezTo>
                  <a:cubicBezTo>
                    <a:pt x="2962" y="461"/>
                    <a:pt x="3000" y="425"/>
                    <a:pt x="3000" y="425"/>
                  </a:cubicBezTo>
                  <a:cubicBezTo>
                    <a:pt x="3000" y="436"/>
                    <a:pt x="3003" y="453"/>
                    <a:pt x="3003" y="453"/>
                  </a:cubicBezTo>
                  <a:lnTo>
                    <a:pt x="3081" y="453"/>
                  </a:lnTo>
                  <a:close/>
                  <a:moveTo>
                    <a:pt x="2994" y="376"/>
                  </a:moveTo>
                  <a:cubicBezTo>
                    <a:pt x="2986" y="384"/>
                    <a:pt x="2964" y="399"/>
                    <a:pt x="2941" y="399"/>
                  </a:cubicBezTo>
                  <a:cubicBezTo>
                    <a:pt x="2920" y="399"/>
                    <a:pt x="2913" y="378"/>
                    <a:pt x="2913" y="363"/>
                  </a:cubicBezTo>
                  <a:cubicBezTo>
                    <a:pt x="2913" y="354"/>
                    <a:pt x="2917" y="346"/>
                    <a:pt x="2924" y="339"/>
                  </a:cubicBezTo>
                  <a:cubicBezTo>
                    <a:pt x="2943" y="322"/>
                    <a:pt x="2983" y="320"/>
                    <a:pt x="2994" y="320"/>
                  </a:cubicBezTo>
                  <a:lnTo>
                    <a:pt x="2994" y="376"/>
                  </a:lnTo>
                  <a:close/>
                  <a:moveTo>
                    <a:pt x="3368" y="363"/>
                  </a:moveTo>
                  <a:cubicBezTo>
                    <a:pt x="3368" y="291"/>
                    <a:pt x="3300" y="278"/>
                    <a:pt x="3249" y="256"/>
                  </a:cubicBezTo>
                  <a:cubicBezTo>
                    <a:pt x="3238" y="250"/>
                    <a:pt x="3226" y="244"/>
                    <a:pt x="3226" y="233"/>
                  </a:cubicBezTo>
                  <a:cubicBezTo>
                    <a:pt x="3226" y="222"/>
                    <a:pt x="3234" y="209"/>
                    <a:pt x="3257" y="209"/>
                  </a:cubicBezTo>
                  <a:cubicBezTo>
                    <a:pt x="3296" y="209"/>
                    <a:pt x="3347" y="229"/>
                    <a:pt x="3347" y="229"/>
                  </a:cubicBezTo>
                  <a:lnTo>
                    <a:pt x="3351" y="162"/>
                  </a:lnTo>
                  <a:cubicBezTo>
                    <a:pt x="3351" y="162"/>
                    <a:pt x="3309" y="145"/>
                    <a:pt x="3260" y="145"/>
                  </a:cubicBezTo>
                  <a:cubicBezTo>
                    <a:pt x="3204" y="145"/>
                    <a:pt x="3149" y="177"/>
                    <a:pt x="3149" y="241"/>
                  </a:cubicBezTo>
                  <a:cubicBezTo>
                    <a:pt x="3149" y="307"/>
                    <a:pt x="3217" y="320"/>
                    <a:pt x="3264" y="340"/>
                  </a:cubicBezTo>
                  <a:cubicBezTo>
                    <a:pt x="3277" y="348"/>
                    <a:pt x="3289" y="354"/>
                    <a:pt x="3289" y="367"/>
                  </a:cubicBezTo>
                  <a:cubicBezTo>
                    <a:pt x="3289" y="384"/>
                    <a:pt x="3275" y="395"/>
                    <a:pt x="3257" y="395"/>
                  </a:cubicBezTo>
                  <a:cubicBezTo>
                    <a:pt x="3211" y="395"/>
                    <a:pt x="3149" y="365"/>
                    <a:pt x="3149" y="365"/>
                  </a:cubicBezTo>
                  <a:lnTo>
                    <a:pt x="3145" y="438"/>
                  </a:lnTo>
                  <a:cubicBezTo>
                    <a:pt x="3145" y="438"/>
                    <a:pt x="3198" y="461"/>
                    <a:pt x="3255" y="461"/>
                  </a:cubicBezTo>
                  <a:cubicBezTo>
                    <a:pt x="3313" y="461"/>
                    <a:pt x="3368" y="431"/>
                    <a:pt x="3368" y="363"/>
                  </a:cubicBezTo>
                  <a:moveTo>
                    <a:pt x="3644" y="363"/>
                  </a:moveTo>
                  <a:cubicBezTo>
                    <a:pt x="3644" y="291"/>
                    <a:pt x="3576" y="278"/>
                    <a:pt x="3525" y="256"/>
                  </a:cubicBezTo>
                  <a:cubicBezTo>
                    <a:pt x="3513" y="250"/>
                    <a:pt x="3502" y="244"/>
                    <a:pt x="3502" y="233"/>
                  </a:cubicBezTo>
                  <a:cubicBezTo>
                    <a:pt x="3502" y="222"/>
                    <a:pt x="3510" y="209"/>
                    <a:pt x="3532" y="209"/>
                  </a:cubicBezTo>
                  <a:cubicBezTo>
                    <a:pt x="3572" y="209"/>
                    <a:pt x="3621" y="229"/>
                    <a:pt x="3621" y="229"/>
                  </a:cubicBezTo>
                  <a:lnTo>
                    <a:pt x="3627" y="162"/>
                  </a:lnTo>
                  <a:cubicBezTo>
                    <a:pt x="3627" y="162"/>
                    <a:pt x="3585" y="145"/>
                    <a:pt x="3536" y="145"/>
                  </a:cubicBezTo>
                  <a:cubicBezTo>
                    <a:pt x="3478" y="145"/>
                    <a:pt x="3423" y="177"/>
                    <a:pt x="3423" y="241"/>
                  </a:cubicBezTo>
                  <a:cubicBezTo>
                    <a:pt x="3423" y="307"/>
                    <a:pt x="3493" y="320"/>
                    <a:pt x="3538" y="340"/>
                  </a:cubicBezTo>
                  <a:cubicBezTo>
                    <a:pt x="3553" y="348"/>
                    <a:pt x="3564" y="354"/>
                    <a:pt x="3564" y="367"/>
                  </a:cubicBezTo>
                  <a:cubicBezTo>
                    <a:pt x="3564" y="384"/>
                    <a:pt x="3551" y="395"/>
                    <a:pt x="3530" y="395"/>
                  </a:cubicBezTo>
                  <a:cubicBezTo>
                    <a:pt x="3485" y="395"/>
                    <a:pt x="3425" y="365"/>
                    <a:pt x="3425" y="365"/>
                  </a:cubicBezTo>
                  <a:lnTo>
                    <a:pt x="3421" y="438"/>
                  </a:lnTo>
                  <a:cubicBezTo>
                    <a:pt x="3421" y="438"/>
                    <a:pt x="3474" y="461"/>
                    <a:pt x="3529" y="461"/>
                  </a:cubicBezTo>
                  <a:cubicBezTo>
                    <a:pt x="3589" y="461"/>
                    <a:pt x="3644" y="431"/>
                    <a:pt x="3644" y="363"/>
                  </a:cubicBezTo>
                  <a:moveTo>
                    <a:pt x="3957" y="295"/>
                  </a:moveTo>
                  <a:cubicBezTo>
                    <a:pt x="3957" y="224"/>
                    <a:pt x="3931" y="145"/>
                    <a:pt x="3827" y="145"/>
                  </a:cubicBezTo>
                  <a:cubicBezTo>
                    <a:pt x="3736" y="145"/>
                    <a:pt x="3695" y="222"/>
                    <a:pt x="3695" y="303"/>
                  </a:cubicBezTo>
                  <a:cubicBezTo>
                    <a:pt x="3695" y="359"/>
                    <a:pt x="3714" y="461"/>
                    <a:pt x="3821" y="461"/>
                  </a:cubicBezTo>
                  <a:cubicBezTo>
                    <a:pt x="3904" y="461"/>
                    <a:pt x="3952" y="429"/>
                    <a:pt x="3952" y="429"/>
                  </a:cubicBezTo>
                  <a:lnTo>
                    <a:pt x="3950" y="367"/>
                  </a:lnTo>
                  <a:cubicBezTo>
                    <a:pt x="3950" y="367"/>
                    <a:pt x="3891" y="397"/>
                    <a:pt x="3835" y="397"/>
                  </a:cubicBezTo>
                  <a:cubicBezTo>
                    <a:pt x="3799" y="397"/>
                    <a:pt x="3782" y="374"/>
                    <a:pt x="3782" y="320"/>
                  </a:cubicBezTo>
                  <a:lnTo>
                    <a:pt x="3957" y="320"/>
                  </a:lnTo>
                  <a:cubicBezTo>
                    <a:pt x="3957" y="320"/>
                    <a:pt x="3957" y="301"/>
                    <a:pt x="3957" y="295"/>
                  </a:cubicBezTo>
                  <a:moveTo>
                    <a:pt x="3876" y="273"/>
                  </a:moveTo>
                  <a:lnTo>
                    <a:pt x="3782" y="273"/>
                  </a:lnTo>
                  <a:cubicBezTo>
                    <a:pt x="3782" y="248"/>
                    <a:pt x="3789" y="203"/>
                    <a:pt x="3827" y="203"/>
                  </a:cubicBezTo>
                  <a:cubicBezTo>
                    <a:pt x="3870" y="203"/>
                    <a:pt x="3876" y="246"/>
                    <a:pt x="3876" y="273"/>
                  </a:cubicBezTo>
                  <a:moveTo>
                    <a:pt x="4210" y="152"/>
                  </a:moveTo>
                  <a:cubicBezTo>
                    <a:pt x="4210" y="152"/>
                    <a:pt x="4205" y="147"/>
                    <a:pt x="4175" y="147"/>
                  </a:cubicBezTo>
                  <a:cubicBezTo>
                    <a:pt x="4150" y="147"/>
                    <a:pt x="4127" y="169"/>
                    <a:pt x="4114" y="182"/>
                  </a:cubicBezTo>
                  <a:cubicBezTo>
                    <a:pt x="4112" y="184"/>
                    <a:pt x="4110" y="186"/>
                    <a:pt x="4110" y="186"/>
                  </a:cubicBezTo>
                  <a:cubicBezTo>
                    <a:pt x="4110" y="173"/>
                    <a:pt x="4107" y="150"/>
                    <a:pt x="4107" y="150"/>
                  </a:cubicBezTo>
                  <a:lnTo>
                    <a:pt x="4027" y="150"/>
                  </a:lnTo>
                  <a:cubicBezTo>
                    <a:pt x="4027" y="150"/>
                    <a:pt x="4031" y="188"/>
                    <a:pt x="4031" y="226"/>
                  </a:cubicBezTo>
                  <a:lnTo>
                    <a:pt x="4031" y="453"/>
                  </a:lnTo>
                  <a:lnTo>
                    <a:pt x="4112" y="453"/>
                  </a:lnTo>
                  <a:lnTo>
                    <a:pt x="4112" y="241"/>
                  </a:lnTo>
                  <a:cubicBezTo>
                    <a:pt x="4133" y="222"/>
                    <a:pt x="4152" y="212"/>
                    <a:pt x="4161" y="212"/>
                  </a:cubicBezTo>
                  <a:cubicBezTo>
                    <a:pt x="4184" y="212"/>
                    <a:pt x="4203" y="216"/>
                    <a:pt x="4203" y="216"/>
                  </a:cubicBezTo>
                  <a:lnTo>
                    <a:pt x="4210" y="152"/>
                  </a:lnTo>
                  <a:close/>
                  <a:moveTo>
                    <a:pt x="4288" y="414"/>
                  </a:moveTo>
                  <a:cubicBezTo>
                    <a:pt x="4288" y="393"/>
                    <a:pt x="4273" y="369"/>
                    <a:pt x="4241" y="369"/>
                  </a:cubicBezTo>
                  <a:cubicBezTo>
                    <a:pt x="4207" y="369"/>
                    <a:pt x="4190" y="391"/>
                    <a:pt x="4190" y="414"/>
                  </a:cubicBezTo>
                  <a:cubicBezTo>
                    <a:pt x="4190" y="438"/>
                    <a:pt x="4207" y="461"/>
                    <a:pt x="4241" y="461"/>
                  </a:cubicBezTo>
                  <a:cubicBezTo>
                    <a:pt x="4273" y="461"/>
                    <a:pt x="4288" y="436"/>
                    <a:pt x="4288" y="414"/>
                  </a:cubicBezTo>
                  <a:moveTo>
                    <a:pt x="4749" y="453"/>
                  </a:moveTo>
                  <a:lnTo>
                    <a:pt x="4749" y="378"/>
                  </a:lnTo>
                  <a:lnTo>
                    <a:pt x="4575" y="378"/>
                  </a:lnTo>
                  <a:lnTo>
                    <a:pt x="4575" y="45"/>
                  </a:lnTo>
                  <a:lnTo>
                    <a:pt x="4492" y="45"/>
                  </a:lnTo>
                  <a:lnTo>
                    <a:pt x="4492" y="453"/>
                  </a:lnTo>
                  <a:lnTo>
                    <a:pt x="4749" y="453"/>
                  </a:lnTo>
                  <a:close/>
                  <a:moveTo>
                    <a:pt x="5057" y="295"/>
                  </a:moveTo>
                  <a:cubicBezTo>
                    <a:pt x="5057" y="224"/>
                    <a:pt x="5028" y="145"/>
                    <a:pt x="4926" y="145"/>
                  </a:cubicBezTo>
                  <a:cubicBezTo>
                    <a:pt x="4836" y="145"/>
                    <a:pt x="4794" y="222"/>
                    <a:pt x="4794" y="303"/>
                  </a:cubicBezTo>
                  <a:cubicBezTo>
                    <a:pt x="4794" y="359"/>
                    <a:pt x="4811" y="461"/>
                    <a:pt x="4921" y="461"/>
                  </a:cubicBezTo>
                  <a:cubicBezTo>
                    <a:pt x="5002" y="461"/>
                    <a:pt x="5051" y="429"/>
                    <a:pt x="5051" y="429"/>
                  </a:cubicBezTo>
                  <a:lnTo>
                    <a:pt x="5049" y="367"/>
                  </a:lnTo>
                  <a:cubicBezTo>
                    <a:pt x="5049" y="367"/>
                    <a:pt x="4991" y="397"/>
                    <a:pt x="4934" y="397"/>
                  </a:cubicBezTo>
                  <a:cubicBezTo>
                    <a:pt x="4898" y="397"/>
                    <a:pt x="4879" y="374"/>
                    <a:pt x="4879" y="320"/>
                  </a:cubicBezTo>
                  <a:lnTo>
                    <a:pt x="5055" y="320"/>
                  </a:lnTo>
                  <a:cubicBezTo>
                    <a:pt x="5055" y="320"/>
                    <a:pt x="5057" y="301"/>
                    <a:pt x="5057" y="295"/>
                  </a:cubicBezTo>
                  <a:moveTo>
                    <a:pt x="4975" y="273"/>
                  </a:moveTo>
                  <a:lnTo>
                    <a:pt x="4881" y="273"/>
                  </a:lnTo>
                  <a:cubicBezTo>
                    <a:pt x="4881" y="248"/>
                    <a:pt x="4889" y="203"/>
                    <a:pt x="4926" y="203"/>
                  </a:cubicBezTo>
                  <a:cubicBezTo>
                    <a:pt x="4968" y="203"/>
                    <a:pt x="4975" y="246"/>
                    <a:pt x="4975" y="273"/>
                  </a:cubicBezTo>
                  <a:moveTo>
                    <a:pt x="5406" y="301"/>
                  </a:moveTo>
                  <a:cubicBezTo>
                    <a:pt x="5406" y="239"/>
                    <a:pt x="5391" y="145"/>
                    <a:pt x="5293" y="145"/>
                  </a:cubicBezTo>
                  <a:cubicBezTo>
                    <a:pt x="5257" y="145"/>
                    <a:pt x="5219" y="171"/>
                    <a:pt x="5212" y="177"/>
                  </a:cubicBezTo>
                  <a:cubicBezTo>
                    <a:pt x="5212" y="177"/>
                    <a:pt x="5213" y="156"/>
                    <a:pt x="5213" y="145"/>
                  </a:cubicBezTo>
                  <a:lnTo>
                    <a:pt x="5213" y="9"/>
                  </a:lnTo>
                  <a:lnTo>
                    <a:pt x="5130" y="19"/>
                  </a:lnTo>
                  <a:lnTo>
                    <a:pt x="5130" y="389"/>
                  </a:lnTo>
                  <a:cubicBezTo>
                    <a:pt x="5130" y="419"/>
                    <a:pt x="5127" y="453"/>
                    <a:pt x="5127" y="453"/>
                  </a:cubicBezTo>
                  <a:lnTo>
                    <a:pt x="5206" y="453"/>
                  </a:lnTo>
                  <a:cubicBezTo>
                    <a:pt x="5208" y="446"/>
                    <a:pt x="5208" y="434"/>
                    <a:pt x="5208" y="431"/>
                  </a:cubicBezTo>
                  <a:cubicBezTo>
                    <a:pt x="5213" y="434"/>
                    <a:pt x="5249" y="461"/>
                    <a:pt x="5291" y="461"/>
                  </a:cubicBezTo>
                  <a:cubicBezTo>
                    <a:pt x="5365" y="461"/>
                    <a:pt x="5406" y="391"/>
                    <a:pt x="5406" y="301"/>
                  </a:cubicBezTo>
                  <a:moveTo>
                    <a:pt x="5323" y="301"/>
                  </a:moveTo>
                  <a:cubicBezTo>
                    <a:pt x="5323" y="371"/>
                    <a:pt x="5298" y="393"/>
                    <a:pt x="5274" y="393"/>
                  </a:cubicBezTo>
                  <a:cubicBezTo>
                    <a:pt x="5259" y="393"/>
                    <a:pt x="5236" y="389"/>
                    <a:pt x="5213" y="376"/>
                  </a:cubicBezTo>
                  <a:lnTo>
                    <a:pt x="5213" y="233"/>
                  </a:lnTo>
                  <a:cubicBezTo>
                    <a:pt x="5238" y="216"/>
                    <a:pt x="5259" y="211"/>
                    <a:pt x="5276" y="211"/>
                  </a:cubicBezTo>
                  <a:cubicBezTo>
                    <a:pt x="5317" y="211"/>
                    <a:pt x="5323" y="267"/>
                    <a:pt x="5323" y="301"/>
                  </a:cubicBezTo>
                  <a:moveTo>
                    <a:pt x="5727" y="295"/>
                  </a:moveTo>
                  <a:cubicBezTo>
                    <a:pt x="5727" y="224"/>
                    <a:pt x="5701" y="145"/>
                    <a:pt x="5599" y="145"/>
                  </a:cubicBezTo>
                  <a:cubicBezTo>
                    <a:pt x="5508" y="145"/>
                    <a:pt x="5467" y="222"/>
                    <a:pt x="5467" y="303"/>
                  </a:cubicBezTo>
                  <a:cubicBezTo>
                    <a:pt x="5467" y="359"/>
                    <a:pt x="5484" y="461"/>
                    <a:pt x="5593" y="461"/>
                  </a:cubicBezTo>
                  <a:cubicBezTo>
                    <a:pt x="5674" y="461"/>
                    <a:pt x="5723" y="429"/>
                    <a:pt x="5723" y="429"/>
                  </a:cubicBezTo>
                  <a:lnTo>
                    <a:pt x="5720" y="367"/>
                  </a:lnTo>
                  <a:cubicBezTo>
                    <a:pt x="5720" y="367"/>
                    <a:pt x="5661" y="397"/>
                    <a:pt x="5606" y="397"/>
                  </a:cubicBezTo>
                  <a:cubicBezTo>
                    <a:pt x="5570" y="397"/>
                    <a:pt x="5552" y="374"/>
                    <a:pt x="5552" y="320"/>
                  </a:cubicBezTo>
                  <a:lnTo>
                    <a:pt x="5727" y="320"/>
                  </a:lnTo>
                  <a:cubicBezTo>
                    <a:pt x="5727" y="320"/>
                    <a:pt x="5727" y="301"/>
                    <a:pt x="5727" y="295"/>
                  </a:cubicBezTo>
                  <a:moveTo>
                    <a:pt x="5646" y="273"/>
                  </a:moveTo>
                  <a:lnTo>
                    <a:pt x="5552" y="273"/>
                  </a:lnTo>
                  <a:cubicBezTo>
                    <a:pt x="5552" y="248"/>
                    <a:pt x="5559" y="203"/>
                    <a:pt x="5599" y="203"/>
                  </a:cubicBezTo>
                  <a:cubicBezTo>
                    <a:pt x="5640" y="203"/>
                    <a:pt x="5646" y="246"/>
                    <a:pt x="5646" y="273"/>
                  </a:cubicBezTo>
                  <a:moveTo>
                    <a:pt x="6067" y="453"/>
                  </a:moveTo>
                  <a:lnTo>
                    <a:pt x="6067" y="246"/>
                  </a:lnTo>
                  <a:cubicBezTo>
                    <a:pt x="6067" y="218"/>
                    <a:pt x="6062" y="196"/>
                    <a:pt x="6050" y="179"/>
                  </a:cubicBezTo>
                  <a:cubicBezTo>
                    <a:pt x="6037" y="158"/>
                    <a:pt x="6012" y="145"/>
                    <a:pt x="5977" y="145"/>
                  </a:cubicBezTo>
                  <a:cubicBezTo>
                    <a:pt x="5935" y="145"/>
                    <a:pt x="5890" y="180"/>
                    <a:pt x="5880" y="192"/>
                  </a:cubicBezTo>
                  <a:cubicBezTo>
                    <a:pt x="5880" y="173"/>
                    <a:pt x="5876" y="150"/>
                    <a:pt x="5876" y="150"/>
                  </a:cubicBezTo>
                  <a:lnTo>
                    <a:pt x="5797" y="150"/>
                  </a:lnTo>
                  <a:cubicBezTo>
                    <a:pt x="5797" y="150"/>
                    <a:pt x="5801" y="188"/>
                    <a:pt x="5801" y="226"/>
                  </a:cubicBezTo>
                  <a:lnTo>
                    <a:pt x="5801" y="453"/>
                  </a:lnTo>
                  <a:lnTo>
                    <a:pt x="5884" y="453"/>
                  </a:lnTo>
                  <a:lnTo>
                    <a:pt x="5884" y="248"/>
                  </a:lnTo>
                  <a:cubicBezTo>
                    <a:pt x="5895" y="237"/>
                    <a:pt x="5922" y="216"/>
                    <a:pt x="5948" y="216"/>
                  </a:cubicBezTo>
                  <a:cubicBezTo>
                    <a:pt x="5969" y="216"/>
                    <a:pt x="5984" y="220"/>
                    <a:pt x="5984" y="254"/>
                  </a:cubicBezTo>
                  <a:lnTo>
                    <a:pt x="5984" y="453"/>
                  </a:lnTo>
                  <a:lnTo>
                    <a:pt x="6067" y="453"/>
                  </a:lnTo>
                  <a:close/>
                  <a:moveTo>
                    <a:pt x="6233" y="414"/>
                  </a:moveTo>
                  <a:cubicBezTo>
                    <a:pt x="6233" y="393"/>
                    <a:pt x="6218" y="369"/>
                    <a:pt x="6184" y="369"/>
                  </a:cubicBezTo>
                  <a:cubicBezTo>
                    <a:pt x="6152" y="369"/>
                    <a:pt x="6135" y="391"/>
                    <a:pt x="6135" y="414"/>
                  </a:cubicBezTo>
                  <a:cubicBezTo>
                    <a:pt x="6135" y="438"/>
                    <a:pt x="6152" y="461"/>
                    <a:pt x="6184" y="461"/>
                  </a:cubicBezTo>
                  <a:cubicBezTo>
                    <a:pt x="6218" y="461"/>
                    <a:pt x="6233" y="436"/>
                    <a:pt x="6233" y="414"/>
                  </a:cubicBezTo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de-DE" noProof="0">
                <a:solidFill>
                  <a:schemeClr val="tx1"/>
                </a:solidFill>
              </a:endParaRPr>
            </a:p>
          </p:txBody>
        </p:sp>
      </p:grpSp>
      <p:sp>
        <p:nvSpPr>
          <p:cNvPr id="20" name="BDEW-Autor"/>
          <p:cNvSpPr txBox="1">
            <a:spLocks noChangeArrowheads="1"/>
          </p:cNvSpPr>
          <p:nvPr/>
        </p:nvSpPr>
        <p:spPr bwMode="white">
          <a:xfrm>
            <a:off x="2699790" y="6601407"/>
            <a:ext cx="3744416" cy="14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itel der Präsentation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6" r:id="rId12"/>
    <p:sldLayoutId id="2147483797" r:id="rId13"/>
    <p:sldLayoutId id="2147483798" r:id="rId14"/>
    <p:sldLayoutId id="2147483799" r:id="rId15"/>
    <p:sldLayoutId id="2147483800" r:id="rId16"/>
    <p:sldLayoutId id="2147483801" r:id="rId17"/>
    <p:sldLayoutId id="2147483805" r:id="rId18"/>
    <p:sldLayoutId id="2147483803" r:id="rId19"/>
    <p:sldLayoutId id="2147483783" r:id="rId20"/>
    <p:sldLayoutId id="2147483806" r:id="rId21"/>
  </p:sldLayoutIdLst>
  <p:transition spd="slow"/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Arial" charset="0"/>
        </a:defRPr>
      </a:lvl9pPr>
    </p:titleStyle>
    <p:bodyStyle>
      <a:lvl1pPr marL="252000" indent="-252000" algn="l" rtl="0" eaLnBrk="1" fontAlgn="base" hangingPunct="1">
        <a:lnSpc>
          <a:spcPct val="110000"/>
        </a:lnSpc>
        <a:spcBef>
          <a:spcPts val="600"/>
        </a:spcBef>
        <a:spcAft>
          <a:spcPts val="600"/>
        </a:spcAft>
        <a:buClr>
          <a:srgbClr val="0068AF"/>
        </a:buClr>
        <a:buSzPct val="110000"/>
        <a:buFont typeface="Wingdings" pitchFamily="2" charset="2"/>
        <a:buChar char="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rtl="0" eaLnBrk="1" fontAlgn="base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68AF"/>
        </a:buClr>
        <a:buSzPct val="110000"/>
        <a:buFont typeface="Wingdings" pitchFamily="2" charset="2"/>
        <a:buChar char=""/>
        <a:defRPr sz="2200">
          <a:solidFill>
            <a:schemeClr val="tx1"/>
          </a:solidFill>
          <a:latin typeface="+mn-lt"/>
        </a:defRPr>
      </a:lvl2pPr>
      <a:lvl3pPr marL="756000" indent="-252000" algn="l" rtl="0" eaLnBrk="1" fontAlgn="base" hangingPunct="1">
        <a:lnSpc>
          <a:spcPct val="110000"/>
        </a:lnSpc>
        <a:spcBef>
          <a:spcPts val="600"/>
        </a:spcBef>
        <a:spcAft>
          <a:spcPct val="0"/>
        </a:spcAft>
        <a:buClr>
          <a:srgbClr val="0068AF"/>
        </a:buClr>
        <a:buFont typeface="Wingdings" pitchFamily="2" charset="2"/>
        <a:buChar char=""/>
        <a:defRPr>
          <a:solidFill>
            <a:schemeClr val="tx1"/>
          </a:solidFill>
          <a:latin typeface="+mn-lt"/>
        </a:defRPr>
      </a:lvl3pPr>
      <a:lvl4pPr marL="1008000" indent="-252000" algn="l" rtl="0" eaLnBrk="1" fontAlgn="base" hangingPunct="1">
        <a:lnSpc>
          <a:spcPct val="110000"/>
        </a:lnSpc>
        <a:spcBef>
          <a:spcPts val="600"/>
        </a:spcBef>
        <a:spcAft>
          <a:spcPct val="0"/>
        </a:spcAft>
        <a:buClr>
          <a:srgbClr val="0068AF"/>
        </a:buClr>
        <a:buFont typeface="Arial" pitchFamily="34" charset="0"/>
        <a:buChar char="–"/>
        <a:defRPr>
          <a:solidFill>
            <a:schemeClr val="tx1"/>
          </a:solidFill>
          <a:latin typeface="+mn-lt"/>
        </a:defRPr>
      </a:lvl4pPr>
      <a:lvl5pPr marL="1260000" indent="-252000" algn="l" rtl="0" eaLnBrk="1" fontAlgn="base" hangingPunct="1">
        <a:lnSpc>
          <a:spcPct val="110000"/>
        </a:lnSpc>
        <a:spcBef>
          <a:spcPts val="300"/>
        </a:spcBef>
        <a:spcAft>
          <a:spcPct val="0"/>
        </a:spcAft>
        <a:buClr>
          <a:srgbClr val="0068AF"/>
        </a:buClr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5pPr>
      <a:lvl6pPr marL="1806575" indent="-268288" algn="l" rtl="0" eaLnBrk="1" fontAlgn="base" hangingPunct="1">
        <a:spcBef>
          <a:spcPct val="0"/>
        </a:spcBef>
        <a:spcAft>
          <a:spcPct val="0"/>
        </a:spcAft>
        <a:buClr>
          <a:srgbClr val="A01437"/>
        </a:buClr>
        <a:defRPr sz="1600">
          <a:solidFill>
            <a:schemeClr val="tx1"/>
          </a:solidFill>
          <a:latin typeface="+mn-lt"/>
        </a:defRPr>
      </a:lvl6pPr>
      <a:lvl7pPr marL="2263775" indent="-268288" algn="l" rtl="0" eaLnBrk="1" fontAlgn="base" hangingPunct="1">
        <a:spcBef>
          <a:spcPct val="0"/>
        </a:spcBef>
        <a:spcAft>
          <a:spcPct val="0"/>
        </a:spcAft>
        <a:buClr>
          <a:srgbClr val="A01437"/>
        </a:buClr>
        <a:defRPr sz="1600">
          <a:solidFill>
            <a:schemeClr val="tx1"/>
          </a:solidFill>
          <a:latin typeface="+mn-lt"/>
        </a:defRPr>
      </a:lvl7pPr>
      <a:lvl8pPr marL="2720975" indent="-268288" algn="l" rtl="0" eaLnBrk="1" fontAlgn="base" hangingPunct="1">
        <a:spcBef>
          <a:spcPct val="0"/>
        </a:spcBef>
        <a:spcAft>
          <a:spcPct val="0"/>
        </a:spcAft>
        <a:buClr>
          <a:srgbClr val="A01437"/>
        </a:buClr>
        <a:defRPr sz="1600">
          <a:solidFill>
            <a:schemeClr val="tx1"/>
          </a:solidFill>
          <a:latin typeface="+mn-lt"/>
        </a:defRPr>
      </a:lvl8pPr>
      <a:lvl9pPr marL="3178175" indent="-268288" algn="l" rtl="0" eaLnBrk="1" fontAlgn="base" hangingPunct="1">
        <a:spcBef>
          <a:spcPct val="0"/>
        </a:spcBef>
        <a:spcAft>
          <a:spcPct val="0"/>
        </a:spcAft>
        <a:buClr>
          <a:srgbClr val="A01437"/>
        </a:buClr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26" Type="http://schemas.openxmlformats.org/officeDocument/2006/relationships/tags" Target="../tags/tag100.xml"/><Relationship Id="rId39" Type="http://schemas.openxmlformats.org/officeDocument/2006/relationships/tags" Target="../tags/tag113.xml"/><Relationship Id="rId21" Type="http://schemas.openxmlformats.org/officeDocument/2006/relationships/tags" Target="../tags/tag95.xml"/><Relationship Id="rId34" Type="http://schemas.openxmlformats.org/officeDocument/2006/relationships/tags" Target="../tags/tag108.xml"/><Relationship Id="rId42" Type="http://schemas.openxmlformats.org/officeDocument/2006/relationships/tags" Target="../tags/tag116.xml"/><Relationship Id="rId47" Type="http://schemas.openxmlformats.org/officeDocument/2006/relationships/tags" Target="../tags/tag121.xml"/><Relationship Id="rId50" Type="http://schemas.openxmlformats.org/officeDocument/2006/relationships/tags" Target="../tags/tag124.xml"/><Relationship Id="rId55" Type="http://schemas.openxmlformats.org/officeDocument/2006/relationships/tags" Target="../tags/tag129.xml"/><Relationship Id="rId63" Type="http://schemas.openxmlformats.org/officeDocument/2006/relationships/tags" Target="../tags/tag137.xml"/><Relationship Id="rId68" Type="http://schemas.openxmlformats.org/officeDocument/2006/relationships/tags" Target="../tags/tag142.xml"/><Relationship Id="rId76" Type="http://schemas.openxmlformats.org/officeDocument/2006/relationships/tags" Target="../tags/tag150.xml"/><Relationship Id="rId7" Type="http://schemas.openxmlformats.org/officeDocument/2006/relationships/tags" Target="../tags/tag81.xml"/><Relationship Id="rId71" Type="http://schemas.openxmlformats.org/officeDocument/2006/relationships/tags" Target="../tags/tag145.xml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9" Type="http://schemas.openxmlformats.org/officeDocument/2006/relationships/tags" Target="../tags/tag103.xml"/><Relationship Id="rId11" Type="http://schemas.openxmlformats.org/officeDocument/2006/relationships/tags" Target="../tags/tag85.xml"/><Relationship Id="rId24" Type="http://schemas.openxmlformats.org/officeDocument/2006/relationships/tags" Target="../tags/tag98.xml"/><Relationship Id="rId32" Type="http://schemas.openxmlformats.org/officeDocument/2006/relationships/tags" Target="../tags/tag106.xml"/><Relationship Id="rId37" Type="http://schemas.openxmlformats.org/officeDocument/2006/relationships/tags" Target="../tags/tag111.xml"/><Relationship Id="rId40" Type="http://schemas.openxmlformats.org/officeDocument/2006/relationships/tags" Target="../tags/tag114.xml"/><Relationship Id="rId45" Type="http://schemas.openxmlformats.org/officeDocument/2006/relationships/tags" Target="../tags/tag119.xml"/><Relationship Id="rId53" Type="http://schemas.openxmlformats.org/officeDocument/2006/relationships/tags" Target="../tags/tag127.xml"/><Relationship Id="rId58" Type="http://schemas.openxmlformats.org/officeDocument/2006/relationships/tags" Target="../tags/tag132.xml"/><Relationship Id="rId66" Type="http://schemas.openxmlformats.org/officeDocument/2006/relationships/tags" Target="../tags/tag140.xml"/><Relationship Id="rId74" Type="http://schemas.openxmlformats.org/officeDocument/2006/relationships/tags" Target="../tags/tag148.xml"/><Relationship Id="rId79" Type="http://schemas.openxmlformats.org/officeDocument/2006/relationships/tags" Target="../tags/tag153.xml"/><Relationship Id="rId5" Type="http://schemas.openxmlformats.org/officeDocument/2006/relationships/tags" Target="../tags/tag79.xml"/><Relationship Id="rId61" Type="http://schemas.openxmlformats.org/officeDocument/2006/relationships/tags" Target="../tags/tag135.xml"/><Relationship Id="rId82" Type="http://schemas.openxmlformats.org/officeDocument/2006/relationships/oleObject" Target="../embeddings/oleObject1.bin"/><Relationship Id="rId10" Type="http://schemas.openxmlformats.org/officeDocument/2006/relationships/tags" Target="../tags/tag84.xml"/><Relationship Id="rId19" Type="http://schemas.openxmlformats.org/officeDocument/2006/relationships/tags" Target="../tags/tag93.xml"/><Relationship Id="rId31" Type="http://schemas.openxmlformats.org/officeDocument/2006/relationships/tags" Target="../tags/tag105.xml"/><Relationship Id="rId44" Type="http://schemas.openxmlformats.org/officeDocument/2006/relationships/tags" Target="../tags/tag118.xml"/><Relationship Id="rId52" Type="http://schemas.openxmlformats.org/officeDocument/2006/relationships/tags" Target="../tags/tag126.xml"/><Relationship Id="rId60" Type="http://schemas.openxmlformats.org/officeDocument/2006/relationships/tags" Target="../tags/tag134.xml"/><Relationship Id="rId65" Type="http://schemas.openxmlformats.org/officeDocument/2006/relationships/tags" Target="../tags/tag139.xml"/><Relationship Id="rId73" Type="http://schemas.openxmlformats.org/officeDocument/2006/relationships/tags" Target="../tags/tag147.xml"/><Relationship Id="rId78" Type="http://schemas.openxmlformats.org/officeDocument/2006/relationships/tags" Target="../tags/tag152.xml"/><Relationship Id="rId81" Type="http://schemas.openxmlformats.org/officeDocument/2006/relationships/notesSlide" Target="../notesSlides/notesSlide1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tags" Target="../tags/tag96.xml"/><Relationship Id="rId27" Type="http://schemas.openxmlformats.org/officeDocument/2006/relationships/tags" Target="../tags/tag101.xml"/><Relationship Id="rId30" Type="http://schemas.openxmlformats.org/officeDocument/2006/relationships/tags" Target="../tags/tag104.xml"/><Relationship Id="rId35" Type="http://schemas.openxmlformats.org/officeDocument/2006/relationships/tags" Target="../tags/tag109.xml"/><Relationship Id="rId43" Type="http://schemas.openxmlformats.org/officeDocument/2006/relationships/tags" Target="../tags/tag117.xml"/><Relationship Id="rId48" Type="http://schemas.openxmlformats.org/officeDocument/2006/relationships/tags" Target="../tags/tag122.xml"/><Relationship Id="rId56" Type="http://schemas.openxmlformats.org/officeDocument/2006/relationships/tags" Target="../tags/tag130.xml"/><Relationship Id="rId64" Type="http://schemas.openxmlformats.org/officeDocument/2006/relationships/tags" Target="../tags/tag138.xml"/><Relationship Id="rId69" Type="http://schemas.openxmlformats.org/officeDocument/2006/relationships/tags" Target="../tags/tag143.xml"/><Relationship Id="rId77" Type="http://schemas.openxmlformats.org/officeDocument/2006/relationships/tags" Target="../tags/tag151.xml"/><Relationship Id="rId8" Type="http://schemas.openxmlformats.org/officeDocument/2006/relationships/tags" Target="../tags/tag82.xml"/><Relationship Id="rId51" Type="http://schemas.openxmlformats.org/officeDocument/2006/relationships/tags" Target="../tags/tag125.xml"/><Relationship Id="rId72" Type="http://schemas.openxmlformats.org/officeDocument/2006/relationships/tags" Target="../tags/tag146.xml"/><Relationship Id="rId80" Type="http://schemas.openxmlformats.org/officeDocument/2006/relationships/slideLayout" Target="../slideLayouts/slideLayout21.xml"/><Relationship Id="rId3" Type="http://schemas.openxmlformats.org/officeDocument/2006/relationships/tags" Target="../tags/tag77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5" Type="http://schemas.openxmlformats.org/officeDocument/2006/relationships/tags" Target="../tags/tag99.xml"/><Relationship Id="rId33" Type="http://schemas.openxmlformats.org/officeDocument/2006/relationships/tags" Target="../tags/tag107.xml"/><Relationship Id="rId38" Type="http://schemas.openxmlformats.org/officeDocument/2006/relationships/tags" Target="../tags/tag112.xml"/><Relationship Id="rId46" Type="http://schemas.openxmlformats.org/officeDocument/2006/relationships/tags" Target="../tags/tag120.xml"/><Relationship Id="rId59" Type="http://schemas.openxmlformats.org/officeDocument/2006/relationships/tags" Target="../tags/tag133.xml"/><Relationship Id="rId67" Type="http://schemas.openxmlformats.org/officeDocument/2006/relationships/tags" Target="../tags/tag141.xml"/><Relationship Id="rId20" Type="http://schemas.openxmlformats.org/officeDocument/2006/relationships/tags" Target="../tags/tag94.xml"/><Relationship Id="rId41" Type="http://schemas.openxmlformats.org/officeDocument/2006/relationships/tags" Target="../tags/tag115.xml"/><Relationship Id="rId54" Type="http://schemas.openxmlformats.org/officeDocument/2006/relationships/tags" Target="../tags/tag128.xml"/><Relationship Id="rId62" Type="http://schemas.openxmlformats.org/officeDocument/2006/relationships/tags" Target="../tags/tag136.xml"/><Relationship Id="rId70" Type="http://schemas.openxmlformats.org/officeDocument/2006/relationships/tags" Target="../tags/tag144.xml"/><Relationship Id="rId75" Type="http://schemas.openxmlformats.org/officeDocument/2006/relationships/tags" Target="../tags/tag149.xml"/><Relationship Id="rId1" Type="http://schemas.openxmlformats.org/officeDocument/2006/relationships/vmlDrawing" Target="../drawings/vmlDrawing1.vml"/><Relationship Id="rId6" Type="http://schemas.openxmlformats.org/officeDocument/2006/relationships/tags" Target="../tags/tag80.xml"/><Relationship Id="rId15" Type="http://schemas.openxmlformats.org/officeDocument/2006/relationships/tags" Target="../tags/tag89.xml"/><Relationship Id="rId23" Type="http://schemas.openxmlformats.org/officeDocument/2006/relationships/tags" Target="../tags/tag97.xml"/><Relationship Id="rId28" Type="http://schemas.openxmlformats.org/officeDocument/2006/relationships/tags" Target="../tags/tag102.xml"/><Relationship Id="rId36" Type="http://schemas.openxmlformats.org/officeDocument/2006/relationships/tags" Target="../tags/tag110.xml"/><Relationship Id="rId49" Type="http://schemas.openxmlformats.org/officeDocument/2006/relationships/tags" Target="../tags/tag123.xml"/><Relationship Id="rId57" Type="http://schemas.openxmlformats.org/officeDocument/2006/relationships/tags" Target="../tags/tag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2" imgW="0" imgH="0" progId="">
                  <p:embed/>
                </p:oleObj>
              </mc:Choice>
              <mc:Fallback>
                <p:oleObj name="think-cell Slide" r:id="rId82" imgW="0" imgH="0" progId="">
                  <p:embed/>
                  <p:pic>
                    <p:nvPicPr>
                      <p:cNvPr id="614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de-DE" b="1">
              <a:sym typeface="Arial"/>
            </a:endParaRPr>
          </a:p>
        </p:txBody>
      </p:sp>
      <p:sp>
        <p:nvSpPr>
          <p:cNvPr id="6151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de-DE"/>
              <a:t>6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Seite </a:t>
            </a:r>
            <a:fld id="{20322834-A82D-4E29-A66A-3D8F042BFBCA}" type="slidenum">
              <a:rPr lang="de-DE"/>
              <a:pPr>
                <a:defRPr/>
              </a:pPr>
              <a:t>1</a:t>
            </a:fld>
            <a:endParaRPr lang="de-DE" dirty="0"/>
          </a:p>
        </p:txBody>
      </p:sp>
      <p:sp>
        <p:nvSpPr>
          <p:cNvPr id="6172" name="Rectangle 4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pPr eaLnBrk="1" hangingPunct="1"/>
            <a:r>
              <a:rPr lang="de-DE" dirty="0"/>
              <a:t>Wir halten eine umfangreiche </a:t>
            </a:r>
            <a:r>
              <a:rPr lang="de-DE" dirty="0" smtClean="0"/>
              <a:t>Infrastruktur</a:t>
            </a:r>
            <a:br>
              <a:rPr lang="de-DE" dirty="0" smtClean="0"/>
            </a:br>
            <a:r>
              <a:rPr lang="de-DE" dirty="0" smtClean="0"/>
              <a:t>für </a:t>
            </a:r>
            <a:r>
              <a:rPr lang="de-DE" dirty="0"/>
              <a:t>die Wasserversorgung vor</a:t>
            </a:r>
            <a:endParaRPr lang="de-DE" dirty="0" smtClean="0"/>
          </a:p>
        </p:txBody>
      </p:sp>
      <p:sp>
        <p:nvSpPr>
          <p:cNvPr id="67" name="Rectangle 3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50825" y="3284538"/>
            <a:ext cx="8629650" cy="2895600"/>
          </a:xfrm>
          <a:prstGeom prst="rect">
            <a:avLst/>
          </a:prstGeom>
          <a:solidFill>
            <a:schemeClr val="bg1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68" name="Textfeld 10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932363" y="2166688"/>
            <a:ext cx="3932237" cy="107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de-DE" dirty="0"/>
              <a:t>Wir versorgen knapp </a:t>
            </a:r>
            <a:r>
              <a:rPr lang="de-DE" dirty="0" smtClean="0"/>
              <a:t>120.000 Einwohner </a:t>
            </a:r>
            <a:r>
              <a:rPr lang="de-DE" dirty="0"/>
              <a:t>in einem Versorgungsgebiet von </a:t>
            </a:r>
            <a:r>
              <a:rPr lang="de-DE" dirty="0" smtClean="0"/>
              <a:t>250 </a:t>
            </a:r>
            <a:r>
              <a:rPr lang="de-DE" dirty="0"/>
              <a:t>km² mit einer Wassermenge von </a:t>
            </a:r>
            <a:r>
              <a:rPr lang="de-DE" dirty="0" smtClean="0"/>
              <a:t>8,0 Mio</a:t>
            </a:r>
            <a:r>
              <a:rPr lang="de-DE" dirty="0"/>
              <a:t>. m³ über ein Netz von </a:t>
            </a:r>
            <a:r>
              <a:rPr lang="de-DE" dirty="0" smtClean="0"/>
              <a:t>650 km </a:t>
            </a:r>
            <a:r>
              <a:rPr lang="de-DE" dirty="0"/>
              <a:t>Länge</a:t>
            </a:r>
          </a:p>
        </p:txBody>
      </p:sp>
      <p:sp>
        <p:nvSpPr>
          <p:cNvPr id="69" name="Textfeld 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76225" y="2166688"/>
            <a:ext cx="4721225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t"/>
            <a:r>
              <a:rPr lang="de-DE" dirty="0" smtClean="0"/>
              <a:t>Wir gewinnen zwei Drittel unseres Trinkwasser aus eigenen Tiefbrunnen und bereiten es natur-nah auf. Das übrige Drittel beziehen wir bereits aufbereitet von einem Vorversorger.</a:t>
            </a:r>
            <a:endParaRPr lang="de-DE" dirty="0"/>
          </a:p>
        </p:txBody>
      </p:sp>
      <p:sp>
        <p:nvSpPr>
          <p:cNvPr id="70" name="AutoShape 1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933950" y="1589088"/>
            <a:ext cx="3952875" cy="539750"/>
          </a:xfrm>
          <a:prstGeom prst="chevron">
            <a:avLst>
              <a:gd name="adj" fmla="val 0"/>
            </a:avLst>
          </a:prstGeom>
          <a:solidFill>
            <a:schemeClr val="accent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de-DE" b="1">
                <a:solidFill>
                  <a:schemeClr val="bg1"/>
                </a:solidFill>
              </a:rPr>
              <a:t>Verteilung</a:t>
            </a:r>
          </a:p>
        </p:txBody>
      </p:sp>
      <p:sp>
        <p:nvSpPr>
          <p:cNvPr id="71" name="Text Box 237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681163" y="1123950"/>
            <a:ext cx="6138862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r>
              <a:rPr lang="de-DE" b="1">
                <a:solidFill>
                  <a:srgbClr val="000000"/>
                </a:solidFill>
              </a:rPr>
              <a:t>Infrastruktur der Wasserversorgung</a:t>
            </a:r>
          </a:p>
        </p:txBody>
      </p:sp>
      <p:sp>
        <p:nvSpPr>
          <p:cNvPr id="72" name="AutoShape 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1833563" y="1589088"/>
            <a:ext cx="1547812" cy="539750"/>
          </a:xfrm>
          <a:prstGeom prst="chevron">
            <a:avLst>
              <a:gd name="adj" fmla="val 0"/>
            </a:avLst>
          </a:prstGeom>
          <a:solidFill>
            <a:schemeClr val="accent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anchor="ctr"/>
          <a:lstStyle/>
          <a:p>
            <a:r>
              <a:rPr lang="de-DE" b="1" dirty="0" smtClean="0">
                <a:solidFill>
                  <a:schemeClr val="bg1"/>
                </a:solidFill>
              </a:rPr>
              <a:t>Gewinnung und Bezug 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73" name="AutoShape 1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382963" y="1589088"/>
            <a:ext cx="1549400" cy="539750"/>
          </a:xfrm>
          <a:prstGeom prst="chevron">
            <a:avLst>
              <a:gd name="adj" fmla="val 0"/>
            </a:avLst>
          </a:prstGeom>
          <a:solidFill>
            <a:schemeClr val="accent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de-DE" b="1">
                <a:solidFill>
                  <a:schemeClr val="bg1"/>
                </a:solidFill>
              </a:rPr>
              <a:t>Aufbereitung</a:t>
            </a:r>
          </a:p>
        </p:txBody>
      </p:sp>
      <p:sp>
        <p:nvSpPr>
          <p:cNvPr id="74" name="AutoShape 7">
            <a:hlinkClick r:id="" action="ppaction://hlinkshowjump?jump=nextslide"/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47650" y="1589088"/>
            <a:ext cx="1584325" cy="539750"/>
          </a:xfrm>
          <a:prstGeom prst="homePlate">
            <a:avLst>
              <a:gd name="adj" fmla="val 0"/>
            </a:avLst>
          </a:prstGeom>
          <a:solidFill>
            <a:schemeClr val="accent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r>
              <a:rPr lang="de-DE" b="1" dirty="0">
                <a:solidFill>
                  <a:schemeClr val="bg1"/>
                </a:solidFill>
              </a:rPr>
              <a:t>Ressourcen-</a:t>
            </a:r>
            <a:br>
              <a:rPr lang="de-DE" b="1" dirty="0">
                <a:solidFill>
                  <a:schemeClr val="bg1"/>
                </a:solidFill>
              </a:rPr>
            </a:br>
            <a:r>
              <a:rPr lang="de-DE" b="1" dirty="0" err="1">
                <a:solidFill>
                  <a:schemeClr val="bg1"/>
                </a:solidFill>
              </a:rPr>
              <a:t>management</a:t>
            </a:r>
            <a:endParaRPr lang="de-DE" b="1" dirty="0">
              <a:solidFill>
                <a:schemeClr val="bg1"/>
              </a:solidFill>
            </a:endParaRPr>
          </a:p>
        </p:txBody>
      </p:sp>
      <p:cxnSp>
        <p:nvCxnSpPr>
          <p:cNvPr id="75" name="Gerade Verbindung 102"/>
          <p:cNvCxnSpPr>
            <a:cxnSpLocks noChangeShapeType="1"/>
          </p:cNvCxnSpPr>
          <p:nvPr>
            <p:custDataLst>
              <p:tags r:id="rId15"/>
            </p:custDataLst>
          </p:nvPr>
        </p:nvCxnSpPr>
        <p:spPr bwMode="auto">
          <a:xfrm flipH="1" flipV="1">
            <a:off x="4922838" y="2121353"/>
            <a:ext cx="1587" cy="115200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6" name="Freeform 18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250825" y="5508625"/>
            <a:ext cx="8629650" cy="669925"/>
          </a:xfrm>
          <a:custGeom>
            <a:avLst/>
            <a:gdLst>
              <a:gd name="T0" fmla="*/ 2147483647 w 10000"/>
              <a:gd name="T1" fmla="*/ 0 h 10000"/>
              <a:gd name="T2" fmla="*/ 2147483647 w 10000"/>
              <a:gd name="T3" fmla="*/ 2147483647 h 10000"/>
              <a:gd name="T4" fmla="*/ 2147483647 w 10000"/>
              <a:gd name="T5" fmla="*/ 2147483647 h 10000"/>
              <a:gd name="T6" fmla="*/ 2147483647 w 10000"/>
              <a:gd name="T7" fmla="*/ 2147483647 h 10000"/>
              <a:gd name="T8" fmla="*/ 2147483647 w 10000"/>
              <a:gd name="T9" fmla="*/ 2147483647 h 10000"/>
              <a:gd name="T10" fmla="*/ 2147483647 w 10000"/>
              <a:gd name="T11" fmla="*/ 2147483647 h 10000"/>
              <a:gd name="T12" fmla="*/ 2147483647 w 10000"/>
              <a:gd name="T13" fmla="*/ 2147483647 h 10000"/>
              <a:gd name="T14" fmla="*/ 2147483647 w 10000"/>
              <a:gd name="T15" fmla="*/ 2147483647 h 10000"/>
              <a:gd name="T16" fmla="*/ 2147483647 w 10000"/>
              <a:gd name="T17" fmla="*/ 2147483647 h 10000"/>
              <a:gd name="T18" fmla="*/ 2147483647 w 10000"/>
              <a:gd name="T19" fmla="*/ 2147483647 h 10000"/>
              <a:gd name="T20" fmla="*/ 2147483647 w 10000"/>
              <a:gd name="T21" fmla="*/ 2147483647 h 10000"/>
              <a:gd name="T22" fmla="*/ 0 w 10000"/>
              <a:gd name="T23" fmla="*/ 2147483647 h 10000"/>
              <a:gd name="T24" fmla="*/ 0 w 10000"/>
              <a:gd name="T25" fmla="*/ 2147483647 h 10000"/>
              <a:gd name="T26" fmla="*/ 2147483647 w 10000"/>
              <a:gd name="T27" fmla="*/ 0 h 1000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0" t="0" r="r" b="b"/>
            <a:pathLst>
              <a:path w="10000" h="10000">
                <a:moveTo>
                  <a:pt x="5" y="0"/>
                </a:moveTo>
                <a:cubicBezTo>
                  <a:pt x="312" y="349"/>
                  <a:pt x="1308" y="1796"/>
                  <a:pt x="1838" y="2195"/>
                </a:cubicBezTo>
                <a:cubicBezTo>
                  <a:pt x="2366" y="2594"/>
                  <a:pt x="2778" y="2319"/>
                  <a:pt x="3176" y="2394"/>
                </a:cubicBezTo>
                <a:cubicBezTo>
                  <a:pt x="3574" y="2469"/>
                  <a:pt x="3972" y="2581"/>
                  <a:pt x="4225" y="2643"/>
                </a:cubicBezTo>
                <a:cubicBezTo>
                  <a:pt x="4478" y="2705"/>
                  <a:pt x="4284" y="2623"/>
                  <a:pt x="4695" y="2768"/>
                </a:cubicBezTo>
                <a:cubicBezTo>
                  <a:pt x="5106" y="2913"/>
                  <a:pt x="6124" y="3416"/>
                  <a:pt x="6690" y="3516"/>
                </a:cubicBezTo>
                <a:cubicBezTo>
                  <a:pt x="7256" y="3616"/>
                  <a:pt x="7704" y="3342"/>
                  <a:pt x="8094" y="3317"/>
                </a:cubicBezTo>
                <a:cubicBezTo>
                  <a:pt x="8484" y="3292"/>
                  <a:pt x="8817" y="3441"/>
                  <a:pt x="9033" y="3416"/>
                </a:cubicBezTo>
                <a:cubicBezTo>
                  <a:pt x="9249" y="3392"/>
                  <a:pt x="9228" y="3092"/>
                  <a:pt x="9390" y="3117"/>
                </a:cubicBezTo>
                <a:cubicBezTo>
                  <a:pt x="9552" y="3142"/>
                  <a:pt x="9979" y="2469"/>
                  <a:pt x="10000" y="3616"/>
                </a:cubicBezTo>
                <a:lnTo>
                  <a:pt x="10000" y="10000"/>
                </a:lnTo>
                <a:lnTo>
                  <a:pt x="0" y="9950"/>
                </a:lnTo>
                <a:lnTo>
                  <a:pt x="0" y="200"/>
                </a:lnTo>
                <a:cubicBezTo>
                  <a:pt x="2" y="133"/>
                  <a:pt x="3" y="67"/>
                  <a:pt x="5" y="0"/>
                </a:cubicBezTo>
                <a:close/>
              </a:path>
            </a:pathLst>
          </a:custGeom>
          <a:gradFill rotWithShape="1">
            <a:gsLst>
              <a:gs pos="0">
                <a:schemeClr val="bg2"/>
              </a:gs>
              <a:gs pos="100000">
                <a:srgbClr val="909090"/>
              </a:gs>
            </a:gsLst>
            <a:lin ang="16200000" scaled="1"/>
          </a:gradFill>
          <a:ln w="3175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lIns="0" rIns="0"/>
          <a:lstStyle/>
          <a:p>
            <a:endParaRPr lang="de-DE"/>
          </a:p>
        </p:txBody>
      </p:sp>
      <p:sp>
        <p:nvSpPr>
          <p:cNvPr id="77" name="Line 24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2687638" y="5946775"/>
            <a:ext cx="176212" cy="50800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78" name="Line 26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 flipH="1">
            <a:off x="3328988" y="5780088"/>
            <a:ext cx="173037" cy="4762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79" name="Freeform 29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3219450" y="5470525"/>
            <a:ext cx="2792414" cy="177801"/>
          </a:xfrm>
          <a:custGeom>
            <a:avLst/>
            <a:gdLst>
              <a:gd name="T0" fmla="*/ 0 w 10000"/>
              <a:gd name="T1" fmla="*/ 8534352 h 193697"/>
              <a:gd name="T2" fmla="*/ 0 w 10000"/>
              <a:gd name="T3" fmla="*/ 5643 h 193697"/>
              <a:gd name="T4" fmla="*/ 905746332 w 10000"/>
              <a:gd name="T5" fmla="*/ 0 h 193697"/>
              <a:gd name="T6" fmla="*/ 905746332 w 10000"/>
              <a:gd name="T7" fmla="*/ 180782 h 19369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0000" h="193697">
                <a:moveTo>
                  <a:pt x="0" y="193697"/>
                </a:moveTo>
                <a:lnTo>
                  <a:pt x="0" y="128"/>
                </a:lnTo>
                <a:lnTo>
                  <a:pt x="10000" y="0"/>
                </a:lnTo>
                <a:lnTo>
                  <a:pt x="10000" y="4103"/>
                </a:lnTo>
              </a:path>
            </a:pathLst>
          </a:custGeom>
          <a:noFill/>
          <a:ln w="28575" cap="flat" cmpd="sng">
            <a:solidFill>
              <a:schemeClr val="tx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80" name="Text Box 33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1942008" y="3501010"/>
            <a:ext cx="1334592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r>
              <a:rPr lang="de-DE" sz="1200" dirty="0"/>
              <a:t>Gewinnung </a:t>
            </a:r>
            <a:r>
              <a:rPr lang="de-DE" sz="1200" dirty="0" smtClean="0"/>
              <a:t>und Bezug von Tiefen-grundwasser</a:t>
            </a:r>
            <a:endParaRPr lang="de-DE" sz="1200" dirty="0"/>
          </a:p>
        </p:txBody>
      </p:sp>
      <p:sp>
        <p:nvSpPr>
          <p:cNvPr id="81" name="Rectangle 17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3382963" y="3284538"/>
            <a:ext cx="1539875" cy="2895600"/>
          </a:xfrm>
          <a:prstGeom prst="rect">
            <a:avLst/>
          </a:prstGeom>
          <a:noFill/>
          <a:ln w="3175"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82" name="Rectangle 35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833563" y="3284538"/>
            <a:ext cx="1549400" cy="2895600"/>
          </a:xfrm>
          <a:prstGeom prst="rect">
            <a:avLst/>
          </a:prstGeom>
          <a:noFill/>
          <a:ln w="3175" algn="ctr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83" name="AutoShape 87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774825" y="4787900"/>
            <a:ext cx="238125" cy="134938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84" name="Rectangle 88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1798638" y="4926013"/>
            <a:ext cx="187325" cy="128587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85" name="Freeform 49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6011863" y="4043363"/>
            <a:ext cx="1655762" cy="1514475"/>
          </a:xfrm>
          <a:custGeom>
            <a:avLst/>
            <a:gdLst>
              <a:gd name="T0" fmla="*/ 2147483647 w 502"/>
              <a:gd name="T1" fmla="*/ 2147483647 h 723"/>
              <a:gd name="T2" fmla="*/ 0 w 502"/>
              <a:gd name="T3" fmla="*/ 0 h 723"/>
              <a:gd name="T4" fmla="*/ 0 w 502"/>
              <a:gd name="T5" fmla="*/ 2147483647 h 723"/>
              <a:gd name="T6" fmla="*/ 2147483647 w 502"/>
              <a:gd name="T7" fmla="*/ 2147483647 h 723"/>
              <a:gd name="T8" fmla="*/ 0 60000 65536"/>
              <a:gd name="T9" fmla="*/ 0 60000 65536"/>
              <a:gd name="T10" fmla="*/ 0 60000 65536"/>
              <a:gd name="T11" fmla="*/ 0 60000 65536"/>
              <a:gd name="T12" fmla="*/ 0 w 502"/>
              <a:gd name="T13" fmla="*/ 0 h 723"/>
              <a:gd name="T14" fmla="*/ 502 w 502"/>
              <a:gd name="T15" fmla="*/ 723 h 72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02" h="723">
                <a:moveTo>
                  <a:pt x="502" y="2"/>
                </a:moveTo>
                <a:lnTo>
                  <a:pt x="0" y="0"/>
                </a:lnTo>
                <a:lnTo>
                  <a:pt x="0" y="723"/>
                </a:lnTo>
                <a:lnTo>
                  <a:pt x="388" y="723"/>
                </a:lnTo>
              </a:path>
            </a:pathLst>
          </a:custGeom>
          <a:noFill/>
          <a:ln w="28575" cap="flat" cmpd="sng">
            <a:solidFill>
              <a:schemeClr val="tx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86" name="Line 50"/>
          <p:cNvSpPr>
            <a:spLocks noChangeShapeType="1"/>
          </p:cNvSpPr>
          <p:nvPr>
            <p:custDataLst>
              <p:tags r:id="rId26"/>
            </p:custDataLst>
          </p:nvPr>
        </p:nvSpPr>
        <p:spPr bwMode="auto">
          <a:xfrm>
            <a:off x="6011863" y="4467225"/>
            <a:ext cx="1655762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88" name="Rectangle 54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6172200" y="3802063"/>
            <a:ext cx="293688" cy="338137"/>
          </a:xfrm>
          <a:prstGeom prst="rect">
            <a:avLst/>
          </a:prstGeom>
          <a:solidFill>
            <a:schemeClr val="bg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36000" rIns="36000"/>
          <a:lstStyle/>
          <a:p>
            <a:pPr indent="1588" algn="ctr">
              <a:lnSpc>
                <a:spcPct val="110000"/>
              </a:lnSpc>
              <a:spcBef>
                <a:spcPct val="50000"/>
              </a:spcBef>
              <a:buClr>
                <a:schemeClr val="tx2"/>
              </a:buClr>
              <a:buFont typeface="Wingdings" pitchFamily="2" charset="2"/>
              <a:buNone/>
            </a:pPr>
            <a:endParaRPr lang="de-DE" sz="800" b="1">
              <a:solidFill>
                <a:schemeClr val="bg1"/>
              </a:solidFill>
            </a:endParaRPr>
          </a:p>
        </p:txBody>
      </p:sp>
      <p:sp>
        <p:nvSpPr>
          <p:cNvPr id="89" name="AutoShape 60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7516813" y="3738563"/>
            <a:ext cx="236537" cy="131762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90" name="Rectangle 61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540625" y="3870325"/>
            <a:ext cx="185738" cy="217488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91" name="Freeform 103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7667625" y="4281488"/>
            <a:ext cx="336550" cy="249237"/>
          </a:xfrm>
          <a:custGeom>
            <a:avLst/>
            <a:gdLst>
              <a:gd name="T0" fmla="*/ 0 w 180"/>
              <a:gd name="T1" fmla="*/ 2147483647 h 118"/>
              <a:gd name="T2" fmla="*/ 0 w 180"/>
              <a:gd name="T3" fmla="*/ 2147483647 h 118"/>
              <a:gd name="T4" fmla="*/ 2147483647 w 180"/>
              <a:gd name="T5" fmla="*/ 0 h 118"/>
              <a:gd name="T6" fmla="*/ 2147483647 w 180"/>
              <a:gd name="T7" fmla="*/ 2147483647 h 118"/>
              <a:gd name="T8" fmla="*/ 2147483647 w 180"/>
              <a:gd name="T9" fmla="*/ 2147483647 h 118"/>
              <a:gd name="T10" fmla="*/ 0 w 180"/>
              <a:gd name="T11" fmla="*/ 2147483647 h 1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80"/>
              <a:gd name="T19" fmla="*/ 0 h 118"/>
              <a:gd name="T20" fmla="*/ 180 w 180"/>
              <a:gd name="T21" fmla="*/ 118 h 118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80" h="118">
                <a:moveTo>
                  <a:pt x="0" y="116"/>
                </a:moveTo>
                <a:lnTo>
                  <a:pt x="0" y="59"/>
                </a:lnTo>
                <a:lnTo>
                  <a:pt x="153" y="0"/>
                </a:lnTo>
                <a:lnTo>
                  <a:pt x="180" y="51"/>
                </a:lnTo>
                <a:lnTo>
                  <a:pt x="180" y="118"/>
                </a:lnTo>
                <a:lnTo>
                  <a:pt x="0" y="116"/>
                </a:lnTo>
                <a:close/>
              </a:path>
            </a:pathLst>
          </a:custGeom>
          <a:solidFill>
            <a:srgbClr val="B2B2B2"/>
          </a:solidFill>
          <a:ln w="3175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lIns="0" rIns="0"/>
          <a:lstStyle/>
          <a:p>
            <a:endParaRPr lang="de-DE"/>
          </a:p>
        </p:txBody>
      </p:sp>
      <p:sp>
        <p:nvSpPr>
          <p:cNvPr id="92" name="Rectangle 104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7869238" y="4157663"/>
            <a:ext cx="36512" cy="369887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93" name="Line 51"/>
          <p:cNvSpPr>
            <a:spLocks noChangeShapeType="1"/>
          </p:cNvSpPr>
          <p:nvPr>
            <p:custDataLst>
              <p:tags r:id="rId32"/>
            </p:custDataLst>
          </p:nvPr>
        </p:nvSpPr>
        <p:spPr bwMode="auto">
          <a:xfrm>
            <a:off x="6011863" y="5045075"/>
            <a:ext cx="1741487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94" name="AutoShape 75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6959600" y="4803775"/>
            <a:ext cx="200025" cy="10795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95" name="Rectangle 76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6980238" y="4911725"/>
            <a:ext cx="157162" cy="179388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96" name="AutoShape 78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6729413" y="4887913"/>
            <a:ext cx="169862" cy="77787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97" name="Rectangle 79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6746875" y="4965700"/>
            <a:ext cx="133350" cy="125413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98" name="AutoShape 81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6815138" y="4741863"/>
            <a:ext cx="238125" cy="131762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99" name="Rectangle 82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6838950" y="4875213"/>
            <a:ext cx="188913" cy="217487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00" name="Rectangle 116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7693025" y="4783138"/>
            <a:ext cx="131763" cy="307975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01" name="Rectangle 117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7594600" y="4813300"/>
            <a:ext cx="130175" cy="279400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02" name="AutoShape 108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 flipH="1">
            <a:off x="7753350" y="4803775"/>
            <a:ext cx="198438" cy="10795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03" name="Rectangle 109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 flipH="1">
            <a:off x="7775575" y="4911725"/>
            <a:ext cx="155575" cy="179388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04" name="AutoShape 111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 flipH="1">
            <a:off x="8010525" y="4887913"/>
            <a:ext cx="171450" cy="77787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05" name="Rectangle 112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 flipH="1">
            <a:off x="8029575" y="4965700"/>
            <a:ext cx="134938" cy="125413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06" name="AutoShape 114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 flipH="1">
            <a:off x="7858125" y="4741863"/>
            <a:ext cx="236538" cy="131762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07" name="Rectangle 115"/>
          <p:cNvSpPr>
            <a:spLocks noChangeArrowheads="1"/>
          </p:cNvSpPr>
          <p:nvPr>
            <p:custDataLst>
              <p:tags r:id="rId46"/>
            </p:custDataLst>
          </p:nvPr>
        </p:nvSpPr>
        <p:spPr bwMode="auto">
          <a:xfrm flipH="1">
            <a:off x="7883525" y="4873625"/>
            <a:ext cx="187325" cy="217488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08" name="AutoShape 120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7473950" y="5289550"/>
            <a:ext cx="198438" cy="109538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09" name="Rectangle 121"/>
          <p:cNvSpPr>
            <a:spLocks noChangeArrowheads="1"/>
          </p:cNvSpPr>
          <p:nvPr>
            <p:custDataLst>
              <p:tags r:id="rId48"/>
            </p:custDataLst>
          </p:nvPr>
        </p:nvSpPr>
        <p:spPr bwMode="auto">
          <a:xfrm>
            <a:off x="7493000" y="5399088"/>
            <a:ext cx="157163" cy="180975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10" name="AutoShape 123"/>
          <p:cNvSpPr>
            <a:spLocks noChangeArrowheads="1"/>
          </p:cNvSpPr>
          <p:nvPr>
            <p:custDataLst>
              <p:tags r:id="rId49"/>
            </p:custDataLst>
          </p:nvPr>
        </p:nvSpPr>
        <p:spPr bwMode="auto">
          <a:xfrm>
            <a:off x="7243763" y="5376863"/>
            <a:ext cx="169862" cy="762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11" name="Rectangle 124"/>
          <p:cNvSpPr>
            <a:spLocks noChangeArrowheads="1"/>
          </p:cNvSpPr>
          <p:nvPr>
            <p:custDataLst>
              <p:tags r:id="rId50"/>
            </p:custDataLst>
          </p:nvPr>
        </p:nvSpPr>
        <p:spPr bwMode="auto">
          <a:xfrm>
            <a:off x="7261225" y="5453063"/>
            <a:ext cx="133350" cy="127000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12" name="AutoShape 126"/>
          <p:cNvSpPr>
            <a:spLocks noChangeArrowheads="1"/>
          </p:cNvSpPr>
          <p:nvPr>
            <p:custDataLst>
              <p:tags r:id="rId51"/>
            </p:custDataLst>
          </p:nvPr>
        </p:nvSpPr>
        <p:spPr bwMode="auto">
          <a:xfrm>
            <a:off x="7329488" y="5229225"/>
            <a:ext cx="238125" cy="13176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13" name="Rectangle 127"/>
          <p:cNvSpPr>
            <a:spLocks noChangeArrowheads="1"/>
          </p:cNvSpPr>
          <p:nvPr>
            <p:custDataLst>
              <p:tags r:id="rId52"/>
            </p:custDataLst>
          </p:nvPr>
        </p:nvSpPr>
        <p:spPr bwMode="auto">
          <a:xfrm>
            <a:off x="7353300" y="5360988"/>
            <a:ext cx="187325" cy="219075"/>
          </a:xfrm>
          <a:prstGeom prst="rect">
            <a:avLst/>
          </a:prstGeom>
          <a:solidFill>
            <a:srgbClr val="B2B2B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14" name="Text Box 237"/>
          <p:cNvSpPr txBox="1">
            <a:spLocks noChangeArrowheads="1"/>
          </p:cNvSpPr>
          <p:nvPr>
            <p:custDataLst>
              <p:tags r:id="rId53"/>
            </p:custDataLst>
          </p:nvPr>
        </p:nvSpPr>
        <p:spPr bwMode="auto">
          <a:xfrm>
            <a:off x="419100" y="4797190"/>
            <a:ext cx="1100138" cy="525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r>
              <a:rPr lang="de-DE" sz="1200" dirty="0"/>
              <a:t>Labor</a:t>
            </a: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115" name="Rectangle 236"/>
          <p:cNvSpPr>
            <a:spLocks noChangeArrowheads="1"/>
          </p:cNvSpPr>
          <p:nvPr>
            <p:custDataLst>
              <p:tags r:id="rId54"/>
            </p:custDataLst>
          </p:nvPr>
        </p:nvSpPr>
        <p:spPr bwMode="auto">
          <a:xfrm>
            <a:off x="792163" y="5034275"/>
            <a:ext cx="373062" cy="361950"/>
          </a:xfrm>
          <a:prstGeom prst="rect">
            <a:avLst/>
          </a:prstGeom>
          <a:solidFill>
            <a:schemeClr val="bg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16" name="Freeform 238"/>
          <p:cNvSpPr>
            <a:spLocks/>
          </p:cNvSpPr>
          <p:nvPr>
            <p:custDataLst>
              <p:tags r:id="rId55"/>
            </p:custDataLst>
          </p:nvPr>
        </p:nvSpPr>
        <p:spPr bwMode="auto">
          <a:xfrm flipH="1">
            <a:off x="871538" y="5137462"/>
            <a:ext cx="55562" cy="174625"/>
          </a:xfrm>
          <a:custGeom>
            <a:avLst/>
            <a:gdLst>
              <a:gd name="T0" fmla="*/ 0 w 39"/>
              <a:gd name="T1" fmla="*/ 2 h 89"/>
              <a:gd name="T2" fmla="*/ 0 w 39"/>
              <a:gd name="T3" fmla="*/ 4 h 89"/>
              <a:gd name="T4" fmla="*/ 0 w 39"/>
              <a:gd name="T5" fmla="*/ 4 h 89"/>
              <a:gd name="T6" fmla="*/ 0 w 39"/>
              <a:gd name="T7" fmla="*/ 4 h 89"/>
              <a:gd name="T8" fmla="*/ 0 w 39"/>
              <a:gd name="T9" fmla="*/ 0 h 8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9"/>
              <a:gd name="T16" fmla="*/ 0 h 89"/>
              <a:gd name="T17" fmla="*/ 39 w 39"/>
              <a:gd name="T18" fmla="*/ 89 h 8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9" h="89">
                <a:moveTo>
                  <a:pt x="0" y="2"/>
                </a:moveTo>
                <a:lnTo>
                  <a:pt x="1" y="75"/>
                </a:lnTo>
                <a:cubicBezTo>
                  <a:pt x="5" y="89"/>
                  <a:pt x="16" y="84"/>
                  <a:pt x="22" y="84"/>
                </a:cubicBezTo>
                <a:cubicBezTo>
                  <a:pt x="28" y="84"/>
                  <a:pt x="36" y="88"/>
                  <a:pt x="39" y="74"/>
                </a:cubicBezTo>
                <a:lnTo>
                  <a:pt x="39" y="0"/>
                </a:lnTo>
              </a:path>
            </a:pathLst>
          </a:custGeom>
          <a:gradFill flip="none" rotWithShape="1">
            <a:gsLst>
              <a:gs pos="0">
                <a:schemeClr val="accent1"/>
              </a:gs>
              <a:gs pos="5000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  <a:tileRect/>
          </a:gradFill>
          <a:ln w="3175" cap="flat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0" rIns="0"/>
          <a:lstStyle/>
          <a:p>
            <a:pPr>
              <a:defRPr/>
            </a:pPr>
            <a:endParaRPr lang="de-DE"/>
          </a:p>
        </p:txBody>
      </p:sp>
      <p:sp>
        <p:nvSpPr>
          <p:cNvPr id="117" name="Freeform 239"/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981075" y="5205725"/>
            <a:ext cx="125413" cy="98425"/>
          </a:xfrm>
          <a:custGeom>
            <a:avLst/>
            <a:gdLst>
              <a:gd name="T0" fmla="*/ 7 w 46"/>
              <a:gd name="T1" fmla="*/ 0 h 44"/>
              <a:gd name="T2" fmla="*/ 7 w 46"/>
              <a:gd name="T3" fmla="*/ 16 h 44"/>
              <a:gd name="T4" fmla="*/ 0 w 46"/>
              <a:gd name="T5" fmla="*/ 63 h 44"/>
              <a:gd name="T6" fmla="*/ 7 w 46"/>
              <a:gd name="T7" fmla="*/ 74 h 44"/>
              <a:gd name="T8" fmla="*/ 7 w 46"/>
              <a:gd name="T9" fmla="*/ 65 h 44"/>
              <a:gd name="T10" fmla="*/ 7 w 46"/>
              <a:gd name="T11" fmla="*/ 16 h 44"/>
              <a:gd name="T12" fmla="*/ 7 w 46"/>
              <a:gd name="T13" fmla="*/ 0 h 4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6"/>
              <a:gd name="T22" fmla="*/ 0 h 44"/>
              <a:gd name="T23" fmla="*/ 46 w 46"/>
              <a:gd name="T24" fmla="*/ 44 h 4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6" h="44">
                <a:moveTo>
                  <a:pt x="8" y="0"/>
                </a:moveTo>
                <a:lnTo>
                  <a:pt x="13" y="16"/>
                </a:lnTo>
                <a:lnTo>
                  <a:pt x="0" y="37"/>
                </a:lnTo>
                <a:cubicBezTo>
                  <a:pt x="1" y="42"/>
                  <a:pt x="12" y="44"/>
                  <a:pt x="20" y="44"/>
                </a:cubicBezTo>
                <a:cubicBezTo>
                  <a:pt x="28" y="44"/>
                  <a:pt x="44" y="44"/>
                  <a:pt x="46" y="39"/>
                </a:cubicBezTo>
                <a:lnTo>
                  <a:pt x="35" y="16"/>
                </a:lnTo>
                <a:lnTo>
                  <a:pt x="38" y="0"/>
                </a:lnTo>
              </a:path>
            </a:pathLst>
          </a:custGeom>
          <a:gradFill flip="none" rotWithShape="1">
            <a:gsLst>
              <a:gs pos="0">
                <a:schemeClr val="accent1"/>
              </a:gs>
              <a:gs pos="5000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16200000" scaled="1"/>
            <a:tileRect/>
          </a:gradFill>
          <a:ln w="3175" cap="flat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 lIns="0" rIns="0"/>
          <a:lstStyle/>
          <a:p>
            <a:pPr>
              <a:defRPr/>
            </a:pPr>
            <a:endParaRPr lang="de-DE"/>
          </a:p>
        </p:txBody>
      </p:sp>
      <p:sp>
        <p:nvSpPr>
          <p:cNvPr id="118" name="Rectangle 19"/>
          <p:cNvSpPr>
            <a:spLocks noChangeArrowheads="1"/>
          </p:cNvSpPr>
          <p:nvPr>
            <p:custDataLst>
              <p:tags r:id="rId57"/>
            </p:custDataLst>
          </p:nvPr>
        </p:nvSpPr>
        <p:spPr bwMode="auto">
          <a:xfrm>
            <a:off x="3162300" y="5648325"/>
            <a:ext cx="114300" cy="4445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19" name="Text Box 47"/>
          <p:cNvSpPr txBox="1"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3445241" y="4706650"/>
            <a:ext cx="1501775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r>
              <a:rPr lang="de-DE" sz="1200" dirty="0" smtClean="0"/>
              <a:t>Mehrstufige </a:t>
            </a:r>
            <a:r>
              <a:rPr lang="de-DE" sz="1200" dirty="0" err="1" smtClean="0"/>
              <a:t>Aufberei-tungsverfahren</a:t>
            </a:r>
            <a:endParaRPr lang="de-DE" sz="1200" dirty="0"/>
          </a:p>
        </p:txBody>
      </p:sp>
      <p:sp>
        <p:nvSpPr>
          <p:cNvPr id="120" name="Freeform 40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3663950" y="4413197"/>
            <a:ext cx="419100" cy="192088"/>
          </a:xfrm>
          <a:custGeom>
            <a:avLst/>
            <a:gdLst>
              <a:gd name="T0" fmla="*/ 0 w 224"/>
              <a:gd name="T1" fmla="*/ 2147483647 h 100"/>
              <a:gd name="T2" fmla="*/ 2147483647 w 224"/>
              <a:gd name="T3" fmla="*/ 0 h 100"/>
              <a:gd name="T4" fmla="*/ 2147483647 w 224"/>
              <a:gd name="T5" fmla="*/ 2147483647 h 100"/>
              <a:gd name="T6" fmla="*/ 2147483647 w 224"/>
              <a:gd name="T7" fmla="*/ 2147483647 h 100"/>
              <a:gd name="T8" fmla="*/ 2147483647 w 224"/>
              <a:gd name="T9" fmla="*/ 0 h 100"/>
              <a:gd name="T10" fmla="*/ 2147483647 w 224"/>
              <a:gd name="T11" fmla="*/ 2147483647 h 1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24"/>
              <a:gd name="T19" fmla="*/ 0 h 100"/>
              <a:gd name="T20" fmla="*/ 224 w 224"/>
              <a:gd name="T21" fmla="*/ 100 h 1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24" h="100">
                <a:moveTo>
                  <a:pt x="0" y="2"/>
                </a:moveTo>
                <a:lnTo>
                  <a:pt x="20" y="0"/>
                </a:lnTo>
                <a:lnTo>
                  <a:pt x="22" y="100"/>
                </a:lnTo>
                <a:lnTo>
                  <a:pt x="204" y="100"/>
                </a:lnTo>
                <a:lnTo>
                  <a:pt x="204" y="0"/>
                </a:lnTo>
                <a:lnTo>
                  <a:pt x="224" y="2"/>
                </a:lnTo>
              </a:path>
            </a:pathLst>
          </a:custGeom>
          <a:solidFill>
            <a:srgbClr val="0068AF"/>
          </a:solidFill>
          <a:ln w="19050" cap="flat" cmpd="sng">
            <a:solidFill>
              <a:schemeClr val="bg2"/>
            </a:solidFill>
            <a:prstDash val="solid"/>
            <a:round/>
            <a:headEnd/>
            <a:tailEnd/>
          </a:ln>
        </p:spPr>
        <p:txBody>
          <a:bodyPr lIns="0" rIns="0"/>
          <a:lstStyle/>
          <a:p>
            <a:endParaRPr lang="de-DE"/>
          </a:p>
        </p:txBody>
      </p:sp>
      <p:sp>
        <p:nvSpPr>
          <p:cNvPr id="121" name="Rectangle 41"/>
          <p:cNvSpPr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3713163" y="4503685"/>
            <a:ext cx="319087" cy="90487"/>
          </a:xfrm>
          <a:prstGeom prst="rect">
            <a:avLst/>
          </a:prstGeom>
          <a:solidFill>
            <a:schemeClr val="accent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22" name="Freeform 42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3001964" y="4341896"/>
            <a:ext cx="796088" cy="1306430"/>
          </a:xfrm>
          <a:custGeom>
            <a:avLst/>
            <a:gdLst>
              <a:gd name="T0" fmla="*/ 0 w 10000"/>
              <a:gd name="T1" fmla="*/ 3217065 h 14474"/>
              <a:gd name="T2" fmla="*/ 0 w 10000"/>
              <a:gd name="T3" fmla="*/ 28446 h 14474"/>
              <a:gd name="T4" fmla="*/ 31955446 w 10000"/>
              <a:gd name="T5" fmla="*/ 0 h 14474"/>
              <a:gd name="T6" fmla="*/ 32000262 w 10000"/>
              <a:gd name="T7" fmla="*/ 1567192 h 14474"/>
              <a:gd name="T8" fmla="*/ 0 60000 65536"/>
              <a:gd name="T9" fmla="*/ 0 60000 65536"/>
              <a:gd name="T10" fmla="*/ 0 60000 65536"/>
              <a:gd name="T11" fmla="*/ 0 60000 65536"/>
              <a:gd name="connsiteX0" fmla="*/ 0 w 10000"/>
              <a:gd name="connsiteY0" fmla="*/ 14369 h 14369"/>
              <a:gd name="connsiteX1" fmla="*/ 0 w 10000"/>
              <a:gd name="connsiteY1" fmla="*/ 23 h 14369"/>
              <a:gd name="connsiteX2" fmla="*/ 9817 w 10000"/>
              <a:gd name="connsiteY2" fmla="*/ 0 h 14369"/>
              <a:gd name="connsiteX3" fmla="*/ 10000 w 10000"/>
              <a:gd name="connsiteY3" fmla="*/ 6946 h 14369"/>
              <a:gd name="connsiteX0" fmla="*/ 0 w 10238"/>
              <a:gd name="connsiteY0" fmla="*/ 14369 h 14369"/>
              <a:gd name="connsiteX1" fmla="*/ 0 w 10238"/>
              <a:gd name="connsiteY1" fmla="*/ 23 h 14369"/>
              <a:gd name="connsiteX2" fmla="*/ 10238 w 10238"/>
              <a:gd name="connsiteY2" fmla="*/ 0 h 14369"/>
              <a:gd name="connsiteX3" fmla="*/ 10000 w 10238"/>
              <a:gd name="connsiteY3" fmla="*/ 6946 h 14369"/>
              <a:gd name="connsiteX0" fmla="*/ 0 w 10238"/>
              <a:gd name="connsiteY0" fmla="*/ 14369 h 14369"/>
              <a:gd name="connsiteX1" fmla="*/ 0 w 10238"/>
              <a:gd name="connsiteY1" fmla="*/ 23 h 14369"/>
              <a:gd name="connsiteX2" fmla="*/ 10238 w 10238"/>
              <a:gd name="connsiteY2" fmla="*/ 0 h 14369"/>
              <a:gd name="connsiteX3" fmla="*/ 10169 w 10238"/>
              <a:gd name="connsiteY3" fmla="*/ 2336 h 14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38" h="14369">
                <a:moveTo>
                  <a:pt x="0" y="14369"/>
                </a:moveTo>
                <a:lnTo>
                  <a:pt x="0" y="23"/>
                </a:lnTo>
                <a:cubicBezTo>
                  <a:pt x="3329" y="-20"/>
                  <a:pt x="6909" y="43"/>
                  <a:pt x="10238" y="0"/>
                </a:cubicBezTo>
                <a:cubicBezTo>
                  <a:pt x="10243" y="2350"/>
                  <a:pt x="10164" y="-14"/>
                  <a:pt x="10169" y="2336"/>
                </a:cubicBezTo>
              </a:path>
            </a:pathLst>
          </a:custGeom>
          <a:noFill/>
          <a:ln w="28575" cap="flat" cmpd="sng">
            <a:solidFill>
              <a:schemeClr val="tx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123" name="Freeform 43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3884613" y="4343347"/>
            <a:ext cx="2127250" cy="214313"/>
          </a:xfrm>
          <a:custGeom>
            <a:avLst/>
            <a:gdLst>
              <a:gd name="T0" fmla="*/ 0 w 1136"/>
              <a:gd name="T1" fmla="*/ 2147483647 h 112"/>
              <a:gd name="T2" fmla="*/ 2147483647 w 1136"/>
              <a:gd name="T3" fmla="*/ 0 h 112"/>
              <a:gd name="T4" fmla="*/ 2147483647 w 1136"/>
              <a:gd name="T5" fmla="*/ 0 h 112"/>
              <a:gd name="T6" fmla="*/ 0 60000 65536"/>
              <a:gd name="T7" fmla="*/ 0 60000 65536"/>
              <a:gd name="T8" fmla="*/ 0 60000 65536"/>
              <a:gd name="T9" fmla="*/ 0 w 1136"/>
              <a:gd name="T10" fmla="*/ 0 h 112"/>
              <a:gd name="T11" fmla="*/ 1136 w 1136"/>
              <a:gd name="T12" fmla="*/ 112 h 11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136" h="112">
                <a:moveTo>
                  <a:pt x="0" y="112"/>
                </a:moveTo>
                <a:lnTo>
                  <a:pt x="2" y="0"/>
                </a:lnTo>
                <a:lnTo>
                  <a:pt x="1136" y="0"/>
                </a:lnTo>
              </a:path>
            </a:pathLst>
          </a:custGeom>
          <a:noFill/>
          <a:ln w="28575" cap="flat" cmpd="sng">
            <a:solidFill>
              <a:schemeClr val="tx2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124" name="Rectangle 44"/>
          <p:cNvSpPr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4572000" y="4221110"/>
            <a:ext cx="257175" cy="173037"/>
          </a:xfrm>
          <a:prstGeom prst="rect">
            <a:avLst/>
          </a:prstGeom>
          <a:solidFill>
            <a:schemeClr val="bg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25" name="Rectangle 45"/>
          <p:cNvSpPr>
            <a:spLocks noChangeArrowheads="1"/>
          </p:cNvSpPr>
          <p:nvPr>
            <p:custDataLst>
              <p:tags r:id="rId64"/>
            </p:custDataLst>
          </p:nvPr>
        </p:nvSpPr>
        <p:spPr bwMode="auto">
          <a:xfrm>
            <a:off x="4211638" y="4275085"/>
            <a:ext cx="257175" cy="119062"/>
          </a:xfrm>
          <a:prstGeom prst="rect">
            <a:avLst/>
          </a:prstGeom>
          <a:solidFill>
            <a:schemeClr val="bg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26" name="Text Box 47"/>
          <p:cNvSpPr txBox="1"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3445242" y="3501010"/>
            <a:ext cx="1433513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r>
              <a:rPr lang="de-DE" sz="1200" dirty="0" smtClean="0"/>
              <a:t>Einstufige </a:t>
            </a:r>
            <a:r>
              <a:rPr lang="de-DE" sz="1200" dirty="0" err="1" smtClean="0"/>
              <a:t>Aufberei-tungsverfahren</a:t>
            </a:r>
            <a:endParaRPr lang="de-DE" sz="1200" dirty="0"/>
          </a:p>
        </p:txBody>
      </p:sp>
      <p:sp>
        <p:nvSpPr>
          <p:cNvPr id="127" name="Rectangle 44"/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3841249" y="5373997"/>
            <a:ext cx="257175" cy="173038"/>
          </a:xfrm>
          <a:prstGeom prst="rect">
            <a:avLst/>
          </a:prstGeom>
          <a:solidFill>
            <a:schemeClr val="bg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sp>
        <p:nvSpPr>
          <p:cNvPr id="128" name="Rectangle 45"/>
          <p:cNvSpPr>
            <a:spLocks noChangeArrowheads="1"/>
          </p:cNvSpPr>
          <p:nvPr>
            <p:custDataLst>
              <p:tags r:id="rId67"/>
            </p:custDataLst>
          </p:nvPr>
        </p:nvSpPr>
        <p:spPr bwMode="auto">
          <a:xfrm>
            <a:off x="4177799" y="5427972"/>
            <a:ext cx="257175" cy="119063"/>
          </a:xfrm>
          <a:prstGeom prst="rect">
            <a:avLst/>
          </a:prstGeom>
          <a:solidFill>
            <a:schemeClr val="bg2"/>
          </a:soli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/>
            <a:endParaRPr lang="de-DE"/>
          </a:p>
        </p:txBody>
      </p:sp>
      <p:cxnSp>
        <p:nvCxnSpPr>
          <p:cNvPr id="129" name="Gerade Verbindung 102"/>
          <p:cNvCxnSpPr>
            <a:cxnSpLocks noChangeShapeType="1"/>
          </p:cNvCxnSpPr>
          <p:nvPr>
            <p:custDataLst>
              <p:tags r:id="rId68"/>
            </p:custDataLst>
          </p:nvPr>
        </p:nvCxnSpPr>
        <p:spPr bwMode="auto">
          <a:xfrm flipH="1" flipV="1">
            <a:off x="246063" y="2132466"/>
            <a:ext cx="1587" cy="115200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0" name="Gerade Verbindung 102"/>
          <p:cNvCxnSpPr>
            <a:cxnSpLocks noChangeShapeType="1"/>
          </p:cNvCxnSpPr>
          <p:nvPr>
            <p:custDataLst>
              <p:tags r:id="rId69"/>
            </p:custDataLst>
          </p:nvPr>
        </p:nvCxnSpPr>
        <p:spPr bwMode="auto">
          <a:xfrm flipH="1" flipV="1">
            <a:off x="8878888" y="2132466"/>
            <a:ext cx="1587" cy="1152000"/>
          </a:xfrm>
          <a:prstGeom prst="line">
            <a:avLst/>
          </a:prstGeom>
          <a:noFill/>
          <a:ln w="3175" algn="ctr">
            <a:solidFill>
              <a:schemeClr val="tx1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1" name="Line 24"/>
          <p:cNvSpPr>
            <a:spLocks noChangeShapeType="1"/>
          </p:cNvSpPr>
          <p:nvPr>
            <p:custDataLst>
              <p:tags r:id="rId70"/>
            </p:custDataLst>
          </p:nvPr>
        </p:nvSpPr>
        <p:spPr bwMode="auto">
          <a:xfrm>
            <a:off x="2747963" y="5792788"/>
            <a:ext cx="176212" cy="50800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132" name="Line 26"/>
          <p:cNvSpPr>
            <a:spLocks noChangeShapeType="1"/>
          </p:cNvSpPr>
          <p:nvPr>
            <p:custDataLst>
              <p:tags r:id="rId71"/>
            </p:custDataLst>
          </p:nvPr>
        </p:nvSpPr>
        <p:spPr bwMode="auto">
          <a:xfrm flipH="1">
            <a:off x="3414713" y="5829715"/>
            <a:ext cx="173037" cy="47625"/>
          </a:xfrm>
          <a:prstGeom prst="line">
            <a:avLst/>
          </a:prstGeom>
          <a:noFill/>
          <a:ln w="19050">
            <a:solidFill>
              <a:schemeClr val="accent2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133" name="Rectangle 19"/>
          <p:cNvSpPr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2944813" y="5648325"/>
            <a:ext cx="114300" cy="4445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3175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lIns="0" rIns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34" name="Freeform 2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1798638" y="5678488"/>
            <a:ext cx="928687" cy="179387"/>
          </a:xfrm>
          <a:custGeom>
            <a:avLst/>
            <a:gdLst>
              <a:gd name="T0" fmla="*/ 2147483647 w 486"/>
              <a:gd name="T1" fmla="*/ 0 h 85"/>
              <a:gd name="T2" fmla="*/ 2147483647 w 486"/>
              <a:gd name="T3" fmla="*/ 2147483647 h 85"/>
              <a:gd name="T4" fmla="*/ 2147483647 w 486"/>
              <a:gd name="T5" fmla="*/ 2147483647 h 85"/>
              <a:gd name="T6" fmla="*/ 2147483647 w 486"/>
              <a:gd name="T7" fmla="*/ 2147483647 h 85"/>
              <a:gd name="T8" fmla="*/ 2147483647 w 486"/>
              <a:gd name="T9" fmla="*/ 2147483647 h 85"/>
              <a:gd name="T10" fmla="*/ 2147483647 w 486"/>
              <a:gd name="T11" fmla="*/ 2147483647 h 85"/>
              <a:gd name="T12" fmla="*/ 2147483647 w 486"/>
              <a:gd name="T13" fmla="*/ 2147483647 h 85"/>
              <a:gd name="T14" fmla="*/ 2147483647 w 486"/>
              <a:gd name="T15" fmla="*/ 2147483647 h 85"/>
              <a:gd name="T16" fmla="*/ 2147483647 w 486"/>
              <a:gd name="T17" fmla="*/ 2147483647 h 85"/>
              <a:gd name="T18" fmla="*/ 2147483647 w 486"/>
              <a:gd name="T19" fmla="*/ 0 h 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86"/>
              <a:gd name="T31" fmla="*/ 0 h 85"/>
              <a:gd name="T32" fmla="*/ 486 w 486"/>
              <a:gd name="T33" fmla="*/ 85 h 8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86" h="85">
                <a:moveTo>
                  <a:pt x="11" y="0"/>
                </a:moveTo>
                <a:cubicBezTo>
                  <a:pt x="10" y="4"/>
                  <a:pt x="0" y="16"/>
                  <a:pt x="4" y="27"/>
                </a:cubicBezTo>
                <a:cubicBezTo>
                  <a:pt x="8" y="38"/>
                  <a:pt x="19" y="57"/>
                  <a:pt x="35" y="66"/>
                </a:cubicBezTo>
                <a:cubicBezTo>
                  <a:pt x="51" y="75"/>
                  <a:pt x="67" y="79"/>
                  <a:pt x="100" y="82"/>
                </a:cubicBezTo>
                <a:cubicBezTo>
                  <a:pt x="133" y="85"/>
                  <a:pt x="189" y="85"/>
                  <a:pt x="233" y="85"/>
                </a:cubicBezTo>
                <a:cubicBezTo>
                  <a:pt x="277" y="85"/>
                  <a:pt x="331" y="84"/>
                  <a:pt x="367" y="81"/>
                </a:cubicBezTo>
                <a:cubicBezTo>
                  <a:pt x="403" y="78"/>
                  <a:pt x="432" y="72"/>
                  <a:pt x="451" y="67"/>
                </a:cubicBezTo>
                <a:cubicBezTo>
                  <a:pt x="470" y="62"/>
                  <a:pt x="476" y="56"/>
                  <a:pt x="481" y="51"/>
                </a:cubicBezTo>
                <a:cubicBezTo>
                  <a:pt x="486" y="46"/>
                  <a:pt x="486" y="42"/>
                  <a:pt x="484" y="34"/>
                </a:cubicBezTo>
                <a:cubicBezTo>
                  <a:pt x="482" y="26"/>
                  <a:pt x="474" y="7"/>
                  <a:pt x="472" y="0"/>
                </a:cubicBezTo>
              </a:path>
            </a:pathLst>
          </a:custGeom>
          <a:noFill/>
          <a:ln w="3175" cap="flat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135" name="Freeform 23"/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1798638" y="5691188"/>
            <a:ext cx="928687" cy="179387"/>
          </a:xfrm>
          <a:custGeom>
            <a:avLst/>
            <a:gdLst>
              <a:gd name="T0" fmla="*/ 2147483647 w 486"/>
              <a:gd name="T1" fmla="*/ 0 h 85"/>
              <a:gd name="T2" fmla="*/ 2147483647 w 486"/>
              <a:gd name="T3" fmla="*/ 2147483647 h 85"/>
              <a:gd name="T4" fmla="*/ 2147483647 w 486"/>
              <a:gd name="T5" fmla="*/ 2147483647 h 85"/>
              <a:gd name="T6" fmla="*/ 2147483647 w 486"/>
              <a:gd name="T7" fmla="*/ 2147483647 h 85"/>
              <a:gd name="T8" fmla="*/ 2147483647 w 486"/>
              <a:gd name="T9" fmla="*/ 2147483647 h 85"/>
              <a:gd name="T10" fmla="*/ 2147483647 w 486"/>
              <a:gd name="T11" fmla="*/ 2147483647 h 85"/>
              <a:gd name="T12" fmla="*/ 2147483647 w 486"/>
              <a:gd name="T13" fmla="*/ 2147483647 h 85"/>
              <a:gd name="T14" fmla="*/ 2147483647 w 486"/>
              <a:gd name="T15" fmla="*/ 2147483647 h 85"/>
              <a:gd name="T16" fmla="*/ 2147483647 w 486"/>
              <a:gd name="T17" fmla="*/ 2147483647 h 85"/>
              <a:gd name="T18" fmla="*/ 2147483647 w 486"/>
              <a:gd name="T19" fmla="*/ 0 h 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86"/>
              <a:gd name="T31" fmla="*/ 0 h 85"/>
              <a:gd name="T32" fmla="*/ 486 w 486"/>
              <a:gd name="T33" fmla="*/ 85 h 8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86" h="85">
                <a:moveTo>
                  <a:pt x="11" y="0"/>
                </a:moveTo>
                <a:cubicBezTo>
                  <a:pt x="10" y="4"/>
                  <a:pt x="0" y="16"/>
                  <a:pt x="4" y="27"/>
                </a:cubicBezTo>
                <a:cubicBezTo>
                  <a:pt x="8" y="38"/>
                  <a:pt x="19" y="57"/>
                  <a:pt x="35" y="66"/>
                </a:cubicBezTo>
                <a:cubicBezTo>
                  <a:pt x="51" y="75"/>
                  <a:pt x="67" y="79"/>
                  <a:pt x="100" y="82"/>
                </a:cubicBezTo>
                <a:cubicBezTo>
                  <a:pt x="133" y="85"/>
                  <a:pt x="189" y="85"/>
                  <a:pt x="233" y="85"/>
                </a:cubicBezTo>
                <a:cubicBezTo>
                  <a:pt x="277" y="85"/>
                  <a:pt x="331" y="84"/>
                  <a:pt x="367" y="81"/>
                </a:cubicBezTo>
                <a:cubicBezTo>
                  <a:pt x="403" y="78"/>
                  <a:pt x="432" y="72"/>
                  <a:pt x="451" y="67"/>
                </a:cubicBezTo>
                <a:cubicBezTo>
                  <a:pt x="470" y="62"/>
                  <a:pt x="476" y="56"/>
                  <a:pt x="481" y="51"/>
                </a:cubicBezTo>
                <a:cubicBezTo>
                  <a:pt x="486" y="46"/>
                  <a:pt x="486" y="42"/>
                  <a:pt x="484" y="34"/>
                </a:cubicBezTo>
                <a:cubicBezTo>
                  <a:pt x="482" y="26"/>
                  <a:pt x="474" y="7"/>
                  <a:pt x="472" y="0"/>
                </a:cubicBezTo>
              </a:path>
            </a:pathLst>
          </a:custGeom>
          <a:noFill/>
          <a:ln w="3175" cap="flat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136" name="Freeform 21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2162969" y="4087813"/>
            <a:ext cx="673100" cy="767556"/>
          </a:xfrm>
          <a:custGeom>
            <a:avLst/>
            <a:gdLst>
              <a:gd name="T0" fmla="*/ 2147483647 w 341"/>
              <a:gd name="T1" fmla="*/ 2147483647 h 435"/>
              <a:gd name="T2" fmla="*/ 2147483647 w 341"/>
              <a:gd name="T3" fmla="*/ 2147483647 h 435"/>
              <a:gd name="T4" fmla="*/ 2147483647 w 341"/>
              <a:gd name="T5" fmla="*/ 2147483647 h 435"/>
              <a:gd name="T6" fmla="*/ 2147483647 w 341"/>
              <a:gd name="T7" fmla="*/ 2147483647 h 435"/>
              <a:gd name="T8" fmla="*/ 2147483647 w 341"/>
              <a:gd name="T9" fmla="*/ 2147483647 h 435"/>
              <a:gd name="T10" fmla="*/ 2147483647 w 341"/>
              <a:gd name="T11" fmla="*/ 2147483647 h 435"/>
              <a:gd name="T12" fmla="*/ 2147483647 w 341"/>
              <a:gd name="T13" fmla="*/ 2147483647 h 435"/>
              <a:gd name="T14" fmla="*/ 2147483647 w 341"/>
              <a:gd name="T15" fmla="*/ 2147483647 h 435"/>
              <a:gd name="T16" fmla="*/ 2147483647 w 341"/>
              <a:gd name="T17" fmla="*/ 2147483647 h 435"/>
              <a:gd name="T18" fmla="*/ 2147483647 w 341"/>
              <a:gd name="T19" fmla="*/ 2147483647 h 435"/>
              <a:gd name="T20" fmla="*/ 2147483647 w 341"/>
              <a:gd name="T21" fmla="*/ 2147483647 h 435"/>
              <a:gd name="T22" fmla="*/ 2147483647 w 341"/>
              <a:gd name="T23" fmla="*/ 2147483647 h 435"/>
              <a:gd name="T24" fmla="*/ 2147483647 w 341"/>
              <a:gd name="T25" fmla="*/ 2147483647 h 435"/>
              <a:gd name="T26" fmla="*/ 2147483647 w 341"/>
              <a:gd name="T27" fmla="*/ 2147483647 h 4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41"/>
              <a:gd name="T43" fmla="*/ 0 h 435"/>
              <a:gd name="T44" fmla="*/ 341 w 341"/>
              <a:gd name="T45" fmla="*/ 435 h 43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41" h="435">
                <a:moveTo>
                  <a:pt x="15" y="376"/>
                </a:moveTo>
                <a:cubicBezTo>
                  <a:pt x="19" y="360"/>
                  <a:pt x="0" y="314"/>
                  <a:pt x="39" y="282"/>
                </a:cubicBezTo>
                <a:cubicBezTo>
                  <a:pt x="78" y="250"/>
                  <a:pt x="225" y="211"/>
                  <a:pt x="250" y="183"/>
                </a:cubicBezTo>
                <a:cubicBezTo>
                  <a:pt x="275" y="155"/>
                  <a:pt x="187" y="130"/>
                  <a:pt x="192" y="112"/>
                </a:cubicBezTo>
                <a:cubicBezTo>
                  <a:pt x="197" y="94"/>
                  <a:pt x="265" y="94"/>
                  <a:pt x="280" y="77"/>
                </a:cubicBezTo>
                <a:cubicBezTo>
                  <a:pt x="295" y="60"/>
                  <a:pt x="273" y="24"/>
                  <a:pt x="280" y="12"/>
                </a:cubicBezTo>
                <a:cubicBezTo>
                  <a:pt x="287" y="0"/>
                  <a:pt x="316" y="0"/>
                  <a:pt x="320" y="2"/>
                </a:cubicBezTo>
                <a:cubicBezTo>
                  <a:pt x="324" y="4"/>
                  <a:pt x="307" y="11"/>
                  <a:pt x="308" y="25"/>
                </a:cubicBezTo>
                <a:cubicBezTo>
                  <a:pt x="309" y="39"/>
                  <a:pt x="337" y="73"/>
                  <a:pt x="327" y="89"/>
                </a:cubicBezTo>
                <a:cubicBezTo>
                  <a:pt x="317" y="105"/>
                  <a:pt x="249" y="108"/>
                  <a:pt x="250" y="124"/>
                </a:cubicBezTo>
                <a:cubicBezTo>
                  <a:pt x="251" y="140"/>
                  <a:pt x="341" y="168"/>
                  <a:pt x="333" y="188"/>
                </a:cubicBezTo>
                <a:cubicBezTo>
                  <a:pt x="325" y="208"/>
                  <a:pt x="245" y="225"/>
                  <a:pt x="203" y="247"/>
                </a:cubicBezTo>
                <a:cubicBezTo>
                  <a:pt x="161" y="269"/>
                  <a:pt x="92" y="292"/>
                  <a:pt x="80" y="323"/>
                </a:cubicBezTo>
                <a:cubicBezTo>
                  <a:pt x="68" y="354"/>
                  <a:pt x="122" y="412"/>
                  <a:pt x="133" y="435"/>
                </a:cubicBezTo>
              </a:path>
            </a:pathLst>
          </a:custGeom>
          <a:gradFill rotWithShape="1">
            <a:gsLst>
              <a:gs pos="0">
                <a:srgbClr val="003B6C"/>
              </a:gs>
              <a:gs pos="50000">
                <a:srgbClr val="00589D"/>
              </a:gs>
              <a:gs pos="100000">
                <a:srgbClr val="006ABC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137" name="Freeform 20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755650" y="3721100"/>
            <a:ext cx="2206625" cy="2041525"/>
          </a:xfrm>
          <a:custGeom>
            <a:avLst/>
            <a:gdLst>
              <a:gd name="T0" fmla="*/ 2147483647 w 1153"/>
              <a:gd name="T1" fmla="*/ 2147483647 h 974"/>
              <a:gd name="T2" fmla="*/ 2147483647 w 1153"/>
              <a:gd name="T3" fmla="*/ 2147483647 h 974"/>
              <a:gd name="T4" fmla="*/ 2147483647 w 1153"/>
              <a:gd name="T5" fmla="*/ 2147483647 h 974"/>
              <a:gd name="T6" fmla="*/ 2147483647 w 1153"/>
              <a:gd name="T7" fmla="*/ 2147483647 h 974"/>
              <a:gd name="T8" fmla="*/ 2147483647 w 1153"/>
              <a:gd name="T9" fmla="*/ 2147483647 h 974"/>
              <a:gd name="T10" fmla="*/ 2147483647 w 1153"/>
              <a:gd name="T11" fmla="*/ 2147483647 h 974"/>
              <a:gd name="T12" fmla="*/ 2147483647 w 1153"/>
              <a:gd name="T13" fmla="*/ 2147483647 h 974"/>
              <a:gd name="T14" fmla="*/ 2147483647 w 1153"/>
              <a:gd name="T15" fmla="*/ 2147483647 h 974"/>
              <a:gd name="T16" fmla="*/ 2147483647 w 1153"/>
              <a:gd name="T17" fmla="*/ 2147483647 h 974"/>
              <a:gd name="T18" fmla="*/ 2147483647 w 1153"/>
              <a:gd name="T19" fmla="*/ 2147483647 h 974"/>
              <a:gd name="T20" fmla="*/ 2147483647 w 1153"/>
              <a:gd name="T21" fmla="*/ 2147483647 h 974"/>
              <a:gd name="T22" fmla="*/ 2147483647 w 1153"/>
              <a:gd name="T23" fmla="*/ 2147483647 h 974"/>
              <a:gd name="T24" fmla="*/ 2147483647 w 1153"/>
              <a:gd name="T25" fmla="*/ 2147483647 h 974"/>
              <a:gd name="T26" fmla="*/ 2147483647 w 1153"/>
              <a:gd name="T27" fmla="*/ 2147483647 h 974"/>
              <a:gd name="T28" fmla="*/ 2147483647 w 1153"/>
              <a:gd name="T29" fmla="*/ 2147483647 h 974"/>
              <a:gd name="T30" fmla="*/ 2147483647 w 1153"/>
              <a:gd name="T31" fmla="*/ 2147483647 h 974"/>
              <a:gd name="T32" fmla="*/ 2147483647 w 1153"/>
              <a:gd name="T33" fmla="*/ 2147483647 h 974"/>
              <a:gd name="T34" fmla="*/ 2147483647 w 1153"/>
              <a:gd name="T35" fmla="*/ 2147483647 h 974"/>
              <a:gd name="T36" fmla="*/ 2147483647 w 1153"/>
              <a:gd name="T37" fmla="*/ 2147483647 h 974"/>
              <a:gd name="T38" fmla="*/ 2147483647 w 1153"/>
              <a:gd name="T39" fmla="*/ 2147483647 h 974"/>
              <a:gd name="T40" fmla="*/ 2147483647 w 1153"/>
              <a:gd name="T41" fmla="*/ 2147483647 h 974"/>
              <a:gd name="T42" fmla="*/ 2147483647 w 1153"/>
              <a:gd name="T43" fmla="*/ 2147483647 h 974"/>
              <a:gd name="T44" fmla="*/ 2147483647 w 1153"/>
              <a:gd name="T45" fmla="*/ 2147483647 h 974"/>
              <a:gd name="T46" fmla="*/ 2147483647 w 1153"/>
              <a:gd name="T47" fmla="*/ 2147483647 h 974"/>
              <a:gd name="T48" fmla="*/ 2147483647 w 1153"/>
              <a:gd name="T49" fmla="*/ 2147483647 h 974"/>
              <a:gd name="T50" fmla="*/ 2147483647 w 1153"/>
              <a:gd name="T51" fmla="*/ 2147483647 h 974"/>
              <a:gd name="T52" fmla="*/ 2147483647 w 1153"/>
              <a:gd name="T53" fmla="*/ 2147483647 h 974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153"/>
              <a:gd name="T82" fmla="*/ 0 h 974"/>
              <a:gd name="T83" fmla="*/ 1153 w 1153"/>
              <a:gd name="T84" fmla="*/ 974 h 974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153" h="974">
                <a:moveTo>
                  <a:pt x="556" y="938"/>
                </a:moveTo>
                <a:cubicBezTo>
                  <a:pt x="579" y="915"/>
                  <a:pt x="674" y="843"/>
                  <a:pt x="693" y="800"/>
                </a:cubicBezTo>
                <a:cubicBezTo>
                  <a:pt x="712" y="757"/>
                  <a:pt x="655" y="711"/>
                  <a:pt x="670" y="680"/>
                </a:cubicBezTo>
                <a:cubicBezTo>
                  <a:pt x="685" y="650"/>
                  <a:pt x="813" y="664"/>
                  <a:pt x="781" y="617"/>
                </a:cubicBezTo>
                <a:cubicBezTo>
                  <a:pt x="749" y="569"/>
                  <a:pt x="566" y="462"/>
                  <a:pt x="476" y="399"/>
                </a:cubicBezTo>
                <a:cubicBezTo>
                  <a:pt x="386" y="335"/>
                  <a:pt x="268" y="277"/>
                  <a:pt x="241" y="237"/>
                </a:cubicBezTo>
                <a:cubicBezTo>
                  <a:pt x="214" y="197"/>
                  <a:pt x="320" y="179"/>
                  <a:pt x="311" y="160"/>
                </a:cubicBezTo>
                <a:cubicBezTo>
                  <a:pt x="302" y="141"/>
                  <a:pt x="208" y="134"/>
                  <a:pt x="188" y="121"/>
                </a:cubicBezTo>
                <a:cubicBezTo>
                  <a:pt x="168" y="108"/>
                  <a:pt x="208" y="94"/>
                  <a:pt x="188" y="83"/>
                </a:cubicBezTo>
                <a:cubicBezTo>
                  <a:pt x="168" y="71"/>
                  <a:pt x="88" y="63"/>
                  <a:pt x="70" y="53"/>
                </a:cubicBezTo>
                <a:cubicBezTo>
                  <a:pt x="52" y="43"/>
                  <a:pt x="93" y="31"/>
                  <a:pt x="82" y="23"/>
                </a:cubicBezTo>
                <a:cubicBezTo>
                  <a:pt x="71" y="15"/>
                  <a:pt x="0" y="6"/>
                  <a:pt x="5" y="3"/>
                </a:cubicBezTo>
                <a:cubicBezTo>
                  <a:pt x="10" y="0"/>
                  <a:pt x="90" y="1"/>
                  <a:pt x="111" y="6"/>
                </a:cubicBezTo>
                <a:cubicBezTo>
                  <a:pt x="132" y="11"/>
                  <a:pt x="114" y="27"/>
                  <a:pt x="129" y="36"/>
                </a:cubicBezTo>
                <a:cubicBezTo>
                  <a:pt x="144" y="44"/>
                  <a:pt x="179" y="52"/>
                  <a:pt x="200" y="57"/>
                </a:cubicBezTo>
                <a:cubicBezTo>
                  <a:pt x="221" y="63"/>
                  <a:pt x="254" y="62"/>
                  <a:pt x="258" y="70"/>
                </a:cubicBezTo>
                <a:cubicBezTo>
                  <a:pt x="262" y="77"/>
                  <a:pt x="208" y="91"/>
                  <a:pt x="223" y="100"/>
                </a:cubicBezTo>
                <a:cubicBezTo>
                  <a:pt x="238" y="109"/>
                  <a:pt x="318" y="114"/>
                  <a:pt x="347" y="121"/>
                </a:cubicBezTo>
                <a:cubicBezTo>
                  <a:pt x="376" y="129"/>
                  <a:pt x="407" y="126"/>
                  <a:pt x="399" y="142"/>
                </a:cubicBezTo>
                <a:cubicBezTo>
                  <a:pt x="391" y="158"/>
                  <a:pt x="270" y="187"/>
                  <a:pt x="300" y="219"/>
                </a:cubicBezTo>
                <a:cubicBezTo>
                  <a:pt x="330" y="251"/>
                  <a:pt x="468" y="275"/>
                  <a:pt x="582" y="335"/>
                </a:cubicBezTo>
                <a:cubicBezTo>
                  <a:pt x="696" y="394"/>
                  <a:pt x="892" y="523"/>
                  <a:pt x="987" y="578"/>
                </a:cubicBezTo>
                <a:cubicBezTo>
                  <a:pt x="1082" y="633"/>
                  <a:pt x="1151" y="643"/>
                  <a:pt x="1152" y="667"/>
                </a:cubicBezTo>
                <a:cubicBezTo>
                  <a:pt x="1153" y="691"/>
                  <a:pt x="1004" y="694"/>
                  <a:pt x="993" y="723"/>
                </a:cubicBezTo>
                <a:cubicBezTo>
                  <a:pt x="982" y="752"/>
                  <a:pt x="1085" y="805"/>
                  <a:pt x="1088" y="842"/>
                </a:cubicBezTo>
                <a:cubicBezTo>
                  <a:pt x="1091" y="879"/>
                  <a:pt x="1096" y="922"/>
                  <a:pt x="1012" y="944"/>
                </a:cubicBezTo>
                <a:cubicBezTo>
                  <a:pt x="928" y="966"/>
                  <a:pt x="675" y="968"/>
                  <a:pt x="586" y="974"/>
                </a:cubicBezTo>
              </a:path>
            </a:pathLst>
          </a:custGeom>
          <a:gradFill rotWithShape="1">
            <a:gsLst>
              <a:gs pos="0">
                <a:srgbClr val="003B6C"/>
              </a:gs>
              <a:gs pos="50000">
                <a:srgbClr val="00589D"/>
              </a:gs>
              <a:gs pos="100000">
                <a:srgbClr val="006ABC"/>
              </a:gs>
            </a:gsLst>
            <a:lin ang="54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138" name="Freeform 22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1797050" y="5665788"/>
            <a:ext cx="941388" cy="211137"/>
          </a:xfrm>
          <a:custGeom>
            <a:avLst/>
            <a:gdLst>
              <a:gd name="T0" fmla="*/ 2147483647 w 493"/>
              <a:gd name="T1" fmla="*/ 2147483647 h 101"/>
              <a:gd name="T2" fmla="*/ 2147483647 w 493"/>
              <a:gd name="T3" fmla="*/ 2147483647 h 101"/>
              <a:gd name="T4" fmla="*/ 2147483647 w 493"/>
              <a:gd name="T5" fmla="*/ 2147483647 h 101"/>
              <a:gd name="T6" fmla="*/ 2147483647 w 493"/>
              <a:gd name="T7" fmla="*/ 2147483647 h 101"/>
              <a:gd name="T8" fmla="*/ 2147483647 w 493"/>
              <a:gd name="T9" fmla="*/ 2147483647 h 101"/>
              <a:gd name="T10" fmla="*/ 2147483647 w 493"/>
              <a:gd name="T11" fmla="*/ 2147483647 h 101"/>
              <a:gd name="T12" fmla="*/ 2147483647 w 493"/>
              <a:gd name="T13" fmla="*/ 2147483647 h 101"/>
              <a:gd name="T14" fmla="*/ 2147483647 w 493"/>
              <a:gd name="T15" fmla="*/ 2147483647 h 101"/>
              <a:gd name="T16" fmla="*/ 2147483647 w 493"/>
              <a:gd name="T17" fmla="*/ 2147483647 h 10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93"/>
              <a:gd name="T28" fmla="*/ 0 h 101"/>
              <a:gd name="T29" fmla="*/ 493 w 493"/>
              <a:gd name="T30" fmla="*/ 101 h 10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93" h="101">
                <a:moveTo>
                  <a:pt x="6" y="25"/>
                </a:moveTo>
                <a:cubicBezTo>
                  <a:pt x="3" y="39"/>
                  <a:pt x="17" y="79"/>
                  <a:pt x="71" y="90"/>
                </a:cubicBezTo>
                <a:cubicBezTo>
                  <a:pt x="125" y="101"/>
                  <a:pt x="266" y="97"/>
                  <a:pt x="332" y="94"/>
                </a:cubicBezTo>
                <a:cubicBezTo>
                  <a:pt x="398" y="91"/>
                  <a:pt x="447" y="85"/>
                  <a:pt x="470" y="72"/>
                </a:cubicBezTo>
                <a:cubicBezTo>
                  <a:pt x="493" y="59"/>
                  <a:pt x="487" y="26"/>
                  <a:pt x="468" y="15"/>
                </a:cubicBezTo>
                <a:cubicBezTo>
                  <a:pt x="449" y="4"/>
                  <a:pt x="393" y="6"/>
                  <a:pt x="357" y="4"/>
                </a:cubicBezTo>
                <a:cubicBezTo>
                  <a:pt x="321" y="2"/>
                  <a:pt x="305" y="3"/>
                  <a:pt x="252" y="3"/>
                </a:cubicBezTo>
                <a:cubicBezTo>
                  <a:pt x="199" y="3"/>
                  <a:pt x="82" y="0"/>
                  <a:pt x="41" y="4"/>
                </a:cubicBezTo>
                <a:cubicBezTo>
                  <a:pt x="0" y="8"/>
                  <a:pt x="13" y="21"/>
                  <a:pt x="6" y="25"/>
                </a:cubicBezTo>
                <a:close/>
              </a:path>
            </a:pathLst>
          </a:custGeom>
          <a:gradFill rotWithShape="1">
            <a:gsLst>
              <a:gs pos="0">
                <a:srgbClr val="003B6C"/>
              </a:gs>
              <a:gs pos="50000">
                <a:srgbClr val="00589D"/>
              </a:gs>
              <a:gs pos="100000">
                <a:srgbClr val="006ABC"/>
              </a:gs>
            </a:gsLst>
            <a:lin ang="162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rIns="0"/>
          <a:lstStyle/>
          <a:p>
            <a:endParaRPr lang="de-DE"/>
          </a:p>
        </p:txBody>
      </p:sp>
      <p:sp>
        <p:nvSpPr>
          <p:cNvPr id="87" name="Freeform 52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5364163" y="3933825"/>
            <a:ext cx="179387" cy="654050"/>
          </a:xfrm>
          <a:custGeom>
            <a:avLst/>
            <a:gdLst>
              <a:gd name="T0" fmla="*/ 0 w 96"/>
              <a:gd name="T1" fmla="*/ 2147483647 h 312"/>
              <a:gd name="T2" fmla="*/ 2147483647 w 96"/>
              <a:gd name="T3" fmla="*/ 2147483647 h 312"/>
              <a:gd name="T4" fmla="*/ 0 w 96"/>
              <a:gd name="T5" fmla="*/ 2147483647 h 312"/>
              <a:gd name="T6" fmla="*/ 0 w 96"/>
              <a:gd name="T7" fmla="*/ 2147483647 h 312"/>
              <a:gd name="T8" fmla="*/ 2147483647 w 96"/>
              <a:gd name="T9" fmla="*/ 2147483647 h 312"/>
              <a:gd name="T10" fmla="*/ 2147483647 w 96"/>
              <a:gd name="T11" fmla="*/ 0 h 312"/>
              <a:gd name="T12" fmla="*/ 2147483647 w 96"/>
              <a:gd name="T13" fmla="*/ 2147483647 h 312"/>
              <a:gd name="T14" fmla="*/ 2147483647 w 96"/>
              <a:gd name="T15" fmla="*/ 2147483647 h 312"/>
              <a:gd name="T16" fmla="*/ 2147483647 w 96"/>
              <a:gd name="T17" fmla="*/ 2147483647 h 312"/>
              <a:gd name="T18" fmla="*/ 2147483647 w 96"/>
              <a:gd name="T19" fmla="*/ 2147483647 h 312"/>
              <a:gd name="T20" fmla="*/ 2147483647 w 96"/>
              <a:gd name="T21" fmla="*/ 2147483647 h 312"/>
              <a:gd name="T22" fmla="*/ 0 w 96"/>
              <a:gd name="T23" fmla="*/ 2147483647 h 31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96"/>
              <a:gd name="T37" fmla="*/ 0 h 312"/>
              <a:gd name="T38" fmla="*/ 96 w 96"/>
              <a:gd name="T39" fmla="*/ 312 h 31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96" h="312">
                <a:moveTo>
                  <a:pt x="0" y="312"/>
                </a:moveTo>
                <a:lnTo>
                  <a:pt x="17" y="125"/>
                </a:lnTo>
                <a:lnTo>
                  <a:pt x="0" y="123"/>
                </a:lnTo>
                <a:lnTo>
                  <a:pt x="0" y="60"/>
                </a:lnTo>
                <a:lnTo>
                  <a:pt x="12" y="59"/>
                </a:lnTo>
                <a:lnTo>
                  <a:pt x="48" y="0"/>
                </a:lnTo>
                <a:lnTo>
                  <a:pt x="80" y="60"/>
                </a:lnTo>
                <a:lnTo>
                  <a:pt x="93" y="63"/>
                </a:lnTo>
                <a:lnTo>
                  <a:pt x="93" y="123"/>
                </a:lnTo>
                <a:lnTo>
                  <a:pt x="74" y="125"/>
                </a:lnTo>
                <a:lnTo>
                  <a:pt x="96" y="312"/>
                </a:lnTo>
                <a:lnTo>
                  <a:pt x="0" y="312"/>
                </a:lnTo>
                <a:close/>
              </a:path>
            </a:pathLst>
          </a:custGeom>
          <a:solidFill>
            <a:schemeClr val="bg2"/>
          </a:solidFill>
          <a:ln w="3175" cap="flat" cmpd="sng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lIns="0" rIns="0"/>
          <a:lstStyle/>
          <a:p>
            <a:endParaRPr lang="de-DE"/>
          </a:p>
        </p:txBody>
      </p:sp>
      <p:sp>
        <p:nvSpPr>
          <p:cNvPr id="139" name="Text Box 237"/>
          <p:cNvSpPr txBox="1">
            <a:spLocks noChangeArrowheads="1"/>
          </p:cNvSpPr>
          <p:nvPr>
            <p:custDataLst>
              <p:tags r:id="rId79"/>
            </p:custDataLst>
          </p:nvPr>
        </p:nvSpPr>
        <p:spPr bwMode="auto">
          <a:xfrm>
            <a:off x="374212" y="3933070"/>
            <a:ext cx="1250157" cy="525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Font typeface="Wingdings" pitchFamily="2" charset="2"/>
              <a:buNone/>
            </a:pPr>
            <a:r>
              <a:rPr lang="de-DE" sz="1200" dirty="0" smtClean="0"/>
              <a:t>Gewässer-</a:t>
            </a:r>
            <a:br>
              <a:rPr lang="de-DE" sz="1200" dirty="0" smtClean="0"/>
            </a:br>
            <a:r>
              <a:rPr lang="de-DE" sz="1200" dirty="0" smtClean="0"/>
              <a:t>schutz-</a:t>
            </a:r>
            <a:r>
              <a:rPr lang="de-DE" sz="1200" dirty="0" err="1" smtClean="0"/>
              <a:t>maßnahmen</a:t>
            </a:r>
            <a:endParaRPr lang="de-DE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00761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MITCON_GUIDELINES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oL_nM3EU6zgaW6AjGcR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Ul585aSU6YqIa83ntfd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oeI0kg.UqGGdnj0U9oY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xwvvzi50qoMKpitUhoW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HXLYP5eUCerRdFkbL_F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7cTCslbUC8WmZHzBvIJ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A4gbv8WUiUkcvMgWzm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zKksTBvEKgoVMv5sjb.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iTueWAU2mjl9W5s2lq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NAfK83X0y2d6OC7miA4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IfcMq_h0uB3DJzdZdxy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7620s8AUuKWNKUkFTP1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5jPe1xdEOTWw8xtyfZI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myNjYwQ02YGp3OCcqxB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HWO1nSOUK2FEbzsALI9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5RvKzo90CPQ6BYUoSDC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bSc3jw_EOkKPK706lt8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O4RWxtsUayKc28ipnVx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0Rnysek0ekoc4QulBXe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GvDrjujEC_ATvcOcod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5BjYDBOE2KZJP5xfxoE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iIAftSx0W9MJcwpERto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IUH26vjk.pyJTPrpn2B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QAu2oKFEKzletZRB4rn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_d6.z1AEG8DHjeyc145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rQ11LcE0Knk5gvYXGmz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nz44RHQEaT1NlNWA9Nv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WWmxSgXEOVxXSHLDsXV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eIHoHh4ECPN0wWSokjt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YstMZYaECg1U6zjtu8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5nXpOezEKo1SQrpcetC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YEh4ESLECcpYQa8QbuV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v9f3rlIE6af64WzzbxJ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sPKY_CgEmt.OusAA4Vs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lSv8deSEC.ljT0vh0YF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tuvLWWOU.ThpSsX1XZX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xlk.GAMEyh4fimvhfBc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OKzbSC7EeKTZSjGrsMe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DCRvjpjEOwhdIcKxFY4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7g6_BsHUu_R_6zzx_Y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tQYyfNhUyyXAEVh4JkV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E5JFZHJ0OzK8NmjcZKH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dRG5kJFkCXm.qsQHWAQ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KxHXJW6kmiQw9.tnFX8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0QcZ0FR0GEQKnpCKkxj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U3ablvZ02Qk.AmPGCsE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4KxjJ3fkOME7PUg3Yon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r_4.hko0e4VytUpmfXJ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35KRuhnUCXFIZRQvH7i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Axj6w1Lk69_meTxxbD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jQbQLuZEu4qePHwSYpi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vMwuzivkOcb.ggnxy11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59NMtrPkKZDQmTUf1pK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G_i1DgHEm.U2vpP9dE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jH.bKtKk607vROYmlKY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O7D5ocsEC.69SYbf0fY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_tB4I5IkWjDEGMr.td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j9XUbonEWW1j9B2Mclu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keB1MNuU28rfwkiUEOS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Urg7JsakOEe3xlGYZMj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tG.hteA0GEPXrlJeBLB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XZ0sAIjk.t_gGM32YqO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JVJMri0au2ukvtUvNe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SfB0AuPECWliaHt2tjH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Ee5uxS7U.uEg.movNGC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xQ2TiU5E6xdQzJ7QhJ3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vRjBJBVUmh7YpLRKUg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LID-LAYOUT" val="Vali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h7N7btAEKUdx6jlnNXj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UIyPJvtUqVL3jMTXW95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JZe5kRcUeirUfm2QqJx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Aa7RgnuUCuQ12lWfta.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JImbAZdkWF425qvWzG.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fWjNpOQ0i7W.vAx0Uif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n6cH3znE.h0FkySvqBS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6TfMIG5SEuF05P31VJEE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eebqQUl0S5bB_eglNhA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vqXmyi_k6YIiH4k0NSOQ"/>
</p:tagLst>
</file>

<file path=ppt/theme/theme1.xml><?xml version="1.0" encoding="utf-8"?>
<a:theme xmlns:a="http://schemas.openxmlformats.org/drawingml/2006/main" name="BDEW">
  <a:themeElements>
    <a:clrScheme name="BDEW-Farbe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E1C4B"/>
      </a:accent1>
      <a:accent2>
        <a:srgbClr val="4D6581"/>
      </a:accent2>
      <a:accent3>
        <a:srgbClr val="BE8DA5"/>
      </a:accent3>
      <a:accent4>
        <a:srgbClr val="C2986D"/>
      </a:accent4>
      <a:accent5>
        <a:srgbClr val="626C21"/>
      </a:accent5>
      <a:accent6>
        <a:srgbClr val="A6B2C0"/>
      </a:accent6>
      <a:hlink>
        <a:srgbClr val="00004D"/>
      </a:hlink>
      <a:folHlink>
        <a:srgbClr val="BE8DA5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317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2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 marL="270000" indent="-270000" algn="l">
          <a:lnSpc>
            <a:spcPts val="2200"/>
          </a:lnSpc>
          <a:buClr>
            <a:schemeClr val="accent1"/>
          </a:buClr>
          <a:buFont typeface="Arial" pitchFamily="34" charset="0"/>
          <a:buChar char="•"/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747576"/>
      </a:lt2>
      <a:accent1>
        <a:srgbClr val="7E1C4B"/>
      </a:accent1>
      <a:accent2>
        <a:srgbClr val="4D6581"/>
      </a:accent2>
      <a:accent3>
        <a:srgbClr val="FFFFFF"/>
      </a:accent3>
      <a:accent4>
        <a:srgbClr val="000000"/>
      </a:accent4>
      <a:accent5>
        <a:srgbClr val="C0ABB1"/>
      </a:accent5>
      <a:accent6>
        <a:srgbClr val="455B74"/>
      </a:accent6>
      <a:hlink>
        <a:srgbClr val="BE8DA5"/>
      </a:hlink>
      <a:folHlink>
        <a:srgbClr val="626C2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747576"/>
      </a:lt2>
      <a:accent1>
        <a:srgbClr val="7E1C4B"/>
      </a:accent1>
      <a:accent2>
        <a:srgbClr val="4D6581"/>
      </a:accent2>
      <a:accent3>
        <a:srgbClr val="FFFFFF"/>
      </a:accent3>
      <a:accent4>
        <a:srgbClr val="000000"/>
      </a:accent4>
      <a:accent5>
        <a:srgbClr val="C0ABB1"/>
      </a:accent5>
      <a:accent6>
        <a:srgbClr val="455B74"/>
      </a:accent6>
      <a:hlink>
        <a:srgbClr val="BE8DA5"/>
      </a:hlink>
      <a:folHlink>
        <a:srgbClr val="626C2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DEW Wasser</Template>
  <TotalTime>0</TotalTime>
  <Words>91</Words>
  <Application>Microsoft Office PowerPoint</Application>
  <PresentationFormat>Bildschirmpräsentation (4:3)</PresentationFormat>
  <Paragraphs>1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Wingdings</vt:lpstr>
      <vt:lpstr>BDEW</vt:lpstr>
      <vt:lpstr>think-cell Slide</vt:lpstr>
      <vt:lpstr>Wir halten eine umfangreiche Infrastruktur für die Wasserversorgung vor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cp:lastPrinted>2007-10-23T10:13:23Z</cp:lastPrinted>
  <dcterms:created xsi:type="dcterms:W3CDTF">2018-10-15T09:29:47Z</dcterms:created>
  <dcterms:modified xsi:type="dcterms:W3CDTF">2018-10-15T09:3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atum">
    <vt:lpwstr>1.06.13</vt:lpwstr>
  </property>
  <property fmtid="{D5CDD505-2E9C-101B-9397-08002B2CF9AE}" pid="3" name="Seitenzahl">
    <vt:lpwstr>-1</vt:lpwstr>
  </property>
</Properties>
</file>